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72" r:id="rId1"/>
  </p:sldMasterIdLst>
  <p:notesMasterIdLst>
    <p:notesMasterId r:id="rId25"/>
  </p:notesMasterIdLst>
  <p:sldIdLst>
    <p:sldId id="256" r:id="rId2"/>
    <p:sldId id="261" r:id="rId3"/>
    <p:sldId id="304" r:id="rId4"/>
    <p:sldId id="301" r:id="rId5"/>
    <p:sldId id="302" r:id="rId6"/>
    <p:sldId id="303" r:id="rId7"/>
    <p:sldId id="305" r:id="rId8"/>
    <p:sldId id="306" r:id="rId9"/>
    <p:sldId id="293" r:id="rId10"/>
    <p:sldId id="299" r:id="rId11"/>
    <p:sldId id="300" r:id="rId12"/>
    <p:sldId id="289" r:id="rId13"/>
    <p:sldId id="295" r:id="rId14"/>
    <p:sldId id="291" r:id="rId15"/>
    <p:sldId id="281" r:id="rId16"/>
    <p:sldId id="298" r:id="rId17"/>
    <p:sldId id="292" r:id="rId18"/>
    <p:sldId id="287" r:id="rId19"/>
    <p:sldId id="284" r:id="rId20"/>
    <p:sldId id="296" r:id="rId21"/>
    <p:sldId id="294" r:id="rId22"/>
    <p:sldId id="283" r:id="rId23"/>
    <p:sldId id="297" r:id="rId24"/>
  </p:sldIdLst>
  <p:sldSz cx="9144000" cy="6858000" type="screen4x3"/>
  <p:notesSz cx="6797675" cy="9926638"/>
  <p:embeddedFontLst>
    <p:embeddedFont>
      <p:font typeface="Calibri" panose="020F0502020204030204" pitchFamily="34" charset="0"/>
      <p:regular r:id="rId26"/>
      <p:bold r:id="rId27"/>
      <p:italic r:id="rId28"/>
      <p:boldItalic r:id="rId29"/>
    </p:embeddedFont>
    <p:embeddedFont>
      <p:font typeface="Technika" panose="020B0604020202020204" charset="-18"/>
      <p:regular r:id="rId30"/>
      <p:bold r:id="rId31"/>
      <p:italic r:id="rId32"/>
      <p:boldItalic r:id="rId33"/>
    </p:embeddedFont>
    <p:embeddedFont>
      <p:font typeface="Technika-Bold" panose="00000600000000000000" charset="-18"/>
      <p:regular r:id="rId34"/>
    </p:embeddedFont>
  </p:embeddedFontLst>
  <p:custDataLst>
    <p:tags r:id="rId3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97" autoAdjust="0"/>
    <p:restoredTop sz="94660"/>
  </p:normalViewPr>
  <p:slideViewPr>
    <p:cSldViewPr snapToGrid="0" snapToObjects="1">
      <p:cViewPr varScale="1">
        <p:scale>
          <a:sx n="71" d="100"/>
          <a:sy n="71" d="100"/>
        </p:scale>
        <p:origin x="1482" y="6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1.fntdata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font" Target="fonts/font9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7.fntdata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3.fntdata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2799A2-967B-4B6D-8BF4-047FB8CEA12E}" type="datetimeFigureOut">
              <a:rPr lang="cs-CZ" smtClean="0"/>
              <a:t>22.5.2017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2C11A7-7AF1-4518-86F0-D8E17514D66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71074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270001" y="6368156"/>
            <a:ext cx="4050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 smtClean="0"/>
              <a:t>CASA</a:t>
            </a:r>
            <a:r>
              <a:rPr lang="cs-CZ" sz="1400" baseline="0" dirty="0" smtClean="0"/>
              <a:t> </a:t>
            </a:r>
            <a:r>
              <a:rPr lang="cs-CZ" sz="1400" dirty="0" err="1" smtClean="0"/>
              <a:t>Final</a:t>
            </a:r>
            <a:r>
              <a:rPr lang="cs-CZ" sz="1400" dirty="0" smtClean="0"/>
              <a:t> </a:t>
            </a:r>
            <a:r>
              <a:rPr lang="cs-CZ" sz="1400" dirty="0" err="1" smtClean="0"/>
              <a:t>presentation</a:t>
            </a:r>
            <a:r>
              <a:rPr lang="cs-CZ" sz="1400" dirty="0" smtClean="0"/>
              <a:t>; </a:t>
            </a:r>
            <a:r>
              <a:rPr lang="cs-CZ" sz="1400" dirty="0" smtClean="0"/>
              <a:t>May</a:t>
            </a:r>
            <a:r>
              <a:rPr lang="cs-CZ" sz="1400" baseline="0" dirty="0" smtClean="0"/>
              <a:t> </a:t>
            </a:r>
            <a:r>
              <a:rPr lang="cs-CZ" sz="1400" baseline="0" dirty="0" smtClean="0"/>
              <a:t>22, </a:t>
            </a:r>
            <a:r>
              <a:rPr lang="cs-CZ" sz="1400" baseline="0" dirty="0" smtClean="0"/>
              <a:t>2017</a:t>
            </a:r>
            <a:endParaRPr lang="cs-CZ" sz="140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369340" y="6368156"/>
            <a:ext cx="25046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dirty="0" err="1" smtClean="0"/>
              <a:t>Slide</a:t>
            </a:r>
            <a:r>
              <a:rPr lang="cs-CZ" sz="1400" dirty="0" smtClean="0"/>
              <a:t> </a:t>
            </a:r>
            <a:fld id="{72775F78-C73D-4CBF-9655-388C65220E8D}" type="slidenum">
              <a:rPr lang="cs-CZ" sz="1400" smtClean="0"/>
              <a:t>‹#›</a:t>
            </a:fld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26" Type="http://schemas.openxmlformats.org/officeDocument/2006/relationships/tags" Target="../tags/tag46.xml"/><Relationship Id="rId21" Type="http://schemas.openxmlformats.org/officeDocument/2006/relationships/tags" Target="../tags/tag41.xml"/><Relationship Id="rId42" Type="http://schemas.openxmlformats.org/officeDocument/2006/relationships/tags" Target="../tags/tag62.xml"/><Relationship Id="rId47" Type="http://schemas.openxmlformats.org/officeDocument/2006/relationships/tags" Target="../tags/tag67.xml"/><Relationship Id="rId63" Type="http://schemas.openxmlformats.org/officeDocument/2006/relationships/tags" Target="../tags/tag83.xml"/><Relationship Id="rId68" Type="http://schemas.openxmlformats.org/officeDocument/2006/relationships/tags" Target="../tags/tag88.xml"/><Relationship Id="rId84" Type="http://schemas.openxmlformats.org/officeDocument/2006/relationships/tags" Target="../tags/tag104.xml"/><Relationship Id="rId89" Type="http://schemas.openxmlformats.org/officeDocument/2006/relationships/tags" Target="../tags/tag109.xml"/><Relationship Id="rId16" Type="http://schemas.openxmlformats.org/officeDocument/2006/relationships/tags" Target="../tags/tag36.xml"/><Relationship Id="rId107" Type="http://schemas.openxmlformats.org/officeDocument/2006/relationships/tags" Target="../tags/tag127.xml"/><Relationship Id="rId11" Type="http://schemas.openxmlformats.org/officeDocument/2006/relationships/tags" Target="../tags/tag31.xml"/><Relationship Id="rId32" Type="http://schemas.openxmlformats.org/officeDocument/2006/relationships/tags" Target="../tags/tag52.xml"/><Relationship Id="rId37" Type="http://schemas.openxmlformats.org/officeDocument/2006/relationships/tags" Target="../tags/tag57.xml"/><Relationship Id="rId53" Type="http://schemas.openxmlformats.org/officeDocument/2006/relationships/tags" Target="../tags/tag73.xml"/><Relationship Id="rId58" Type="http://schemas.openxmlformats.org/officeDocument/2006/relationships/tags" Target="../tags/tag78.xml"/><Relationship Id="rId74" Type="http://schemas.openxmlformats.org/officeDocument/2006/relationships/tags" Target="../tags/tag94.xml"/><Relationship Id="rId79" Type="http://schemas.openxmlformats.org/officeDocument/2006/relationships/tags" Target="../tags/tag99.xml"/><Relationship Id="rId102" Type="http://schemas.openxmlformats.org/officeDocument/2006/relationships/tags" Target="../tags/tag122.xml"/><Relationship Id="rId5" Type="http://schemas.openxmlformats.org/officeDocument/2006/relationships/tags" Target="../tags/tag25.xml"/><Relationship Id="rId90" Type="http://schemas.openxmlformats.org/officeDocument/2006/relationships/tags" Target="../tags/tag110.xml"/><Relationship Id="rId95" Type="http://schemas.openxmlformats.org/officeDocument/2006/relationships/tags" Target="../tags/tag115.xml"/><Relationship Id="rId22" Type="http://schemas.openxmlformats.org/officeDocument/2006/relationships/tags" Target="../tags/tag42.xml"/><Relationship Id="rId27" Type="http://schemas.openxmlformats.org/officeDocument/2006/relationships/tags" Target="../tags/tag47.xml"/><Relationship Id="rId43" Type="http://schemas.openxmlformats.org/officeDocument/2006/relationships/tags" Target="../tags/tag63.xml"/><Relationship Id="rId48" Type="http://schemas.openxmlformats.org/officeDocument/2006/relationships/tags" Target="../tags/tag68.xml"/><Relationship Id="rId64" Type="http://schemas.openxmlformats.org/officeDocument/2006/relationships/tags" Target="../tags/tag84.xml"/><Relationship Id="rId69" Type="http://schemas.openxmlformats.org/officeDocument/2006/relationships/tags" Target="../tags/tag89.xml"/><Relationship Id="rId80" Type="http://schemas.openxmlformats.org/officeDocument/2006/relationships/tags" Target="../tags/tag100.xml"/><Relationship Id="rId85" Type="http://schemas.openxmlformats.org/officeDocument/2006/relationships/tags" Target="../tags/tag105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33" Type="http://schemas.openxmlformats.org/officeDocument/2006/relationships/tags" Target="../tags/tag53.xml"/><Relationship Id="rId38" Type="http://schemas.openxmlformats.org/officeDocument/2006/relationships/tags" Target="../tags/tag58.xml"/><Relationship Id="rId59" Type="http://schemas.openxmlformats.org/officeDocument/2006/relationships/tags" Target="../tags/tag79.xml"/><Relationship Id="rId103" Type="http://schemas.openxmlformats.org/officeDocument/2006/relationships/tags" Target="../tags/tag123.xml"/><Relationship Id="rId108" Type="http://schemas.openxmlformats.org/officeDocument/2006/relationships/slideLayout" Target="../slideLayouts/slideLayout3.xml"/><Relationship Id="rId54" Type="http://schemas.openxmlformats.org/officeDocument/2006/relationships/tags" Target="../tags/tag74.xml"/><Relationship Id="rId70" Type="http://schemas.openxmlformats.org/officeDocument/2006/relationships/tags" Target="../tags/tag90.xml"/><Relationship Id="rId75" Type="http://schemas.openxmlformats.org/officeDocument/2006/relationships/tags" Target="../tags/tag95.xml"/><Relationship Id="rId91" Type="http://schemas.openxmlformats.org/officeDocument/2006/relationships/tags" Target="../tags/tag111.xml"/><Relationship Id="rId96" Type="http://schemas.openxmlformats.org/officeDocument/2006/relationships/tags" Target="../tags/tag116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6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28" Type="http://schemas.openxmlformats.org/officeDocument/2006/relationships/tags" Target="../tags/tag48.xml"/><Relationship Id="rId36" Type="http://schemas.openxmlformats.org/officeDocument/2006/relationships/tags" Target="../tags/tag56.xml"/><Relationship Id="rId49" Type="http://schemas.openxmlformats.org/officeDocument/2006/relationships/tags" Target="../tags/tag69.xml"/><Relationship Id="rId57" Type="http://schemas.openxmlformats.org/officeDocument/2006/relationships/tags" Target="../tags/tag77.xml"/><Relationship Id="rId106" Type="http://schemas.openxmlformats.org/officeDocument/2006/relationships/tags" Target="../tags/tag126.xml"/><Relationship Id="rId10" Type="http://schemas.openxmlformats.org/officeDocument/2006/relationships/tags" Target="../tags/tag30.xml"/><Relationship Id="rId31" Type="http://schemas.openxmlformats.org/officeDocument/2006/relationships/tags" Target="../tags/tag51.xml"/><Relationship Id="rId44" Type="http://schemas.openxmlformats.org/officeDocument/2006/relationships/tags" Target="../tags/tag64.xml"/><Relationship Id="rId52" Type="http://schemas.openxmlformats.org/officeDocument/2006/relationships/tags" Target="../tags/tag72.xml"/><Relationship Id="rId60" Type="http://schemas.openxmlformats.org/officeDocument/2006/relationships/tags" Target="../tags/tag80.xml"/><Relationship Id="rId65" Type="http://schemas.openxmlformats.org/officeDocument/2006/relationships/tags" Target="../tags/tag85.xml"/><Relationship Id="rId73" Type="http://schemas.openxmlformats.org/officeDocument/2006/relationships/tags" Target="../tags/tag93.xml"/><Relationship Id="rId78" Type="http://schemas.openxmlformats.org/officeDocument/2006/relationships/tags" Target="../tags/tag98.xml"/><Relationship Id="rId81" Type="http://schemas.openxmlformats.org/officeDocument/2006/relationships/tags" Target="../tags/tag101.xml"/><Relationship Id="rId86" Type="http://schemas.openxmlformats.org/officeDocument/2006/relationships/tags" Target="../tags/tag106.xml"/><Relationship Id="rId94" Type="http://schemas.openxmlformats.org/officeDocument/2006/relationships/tags" Target="../tags/tag114.xml"/><Relationship Id="rId99" Type="http://schemas.openxmlformats.org/officeDocument/2006/relationships/tags" Target="../tags/tag119.xml"/><Relationship Id="rId101" Type="http://schemas.openxmlformats.org/officeDocument/2006/relationships/tags" Target="../tags/tag121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39" Type="http://schemas.openxmlformats.org/officeDocument/2006/relationships/tags" Target="../tags/tag59.xml"/><Relationship Id="rId109" Type="http://schemas.openxmlformats.org/officeDocument/2006/relationships/oleObject" Target="../embeddings/oleObject12.bin"/><Relationship Id="rId34" Type="http://schemas.openxmlformats.org/officeDocument/2006/relationships/tags" Target="../tags/tag54.xml"/><Relationship Id="rId50" Type="http://schemas.openxmlformats.org/officeDocument/2006/relationships/tags" Target="../tags/tag70.xml"/><Relationship Id="rId55" Type="http://schemas.openxmlformats.org/officeDocument/2006/relationships/tags" Target="../tags/tag75.xml"/><Relationship Id="rId76" Type="http://schemas.openxmlformats.org/officeDocument/2006/relationships/tags" Target="../tags/tag96.xml"/><Relationship Id="rId97" Type="http://schemas.openxmlformats.org/officeDocument/2006/relationships/tags" Target="../tags/tag117.xml"/><Relationship Id="rId104" Type="http://schemas.openxmlformats.org/officeDocument/2006/relationships/tags" Target="../tags/tag124.xml"/><Relationship Id="rId7" Type="http://schemas.openxmlformats.org/officeDocument/2006/relationships/tags" Target="../tags/tag27.xml"/><Relationship Id="rId71" Type="http://schemas.openxmlformats.org/officeDocument/2006/relationships/tags" Target="../tags/tag91.xml"/><Relationship Id="rId92" Type="http://schemas.openxmlformats.org/officeDocument/2006/relationships/tags" Target="../tags/tag112.xml"/><Relationship Id="rId2" Type="http://schemas.openxmlformats.org/officeDocument/2006/relationships/tags" Target="../tags/tag22.xml"/><Relationship Id="rId29" Type="http://schemas.openxmlformats.org/officeDocument/2006/relationships/tags" Target="../tags/tag49.xml"/><Relationship Id="rId24" Type="http://schemas.openxmlformats.org/officeDocument/2006/relationships/tags" Target="../tags/tag44.xml"/><Relationship Id="rId40" Type="http://schemas.openxmlformats.org/officeDocument/2006/relationships/tags" Target="../tags/tag60.xml"/><Relationship Id="rId45" Type="http://schemas.openxmlformats.org/officeDocument/2006/relationships/tags" Target="../tags/tag65.xml"/><Relationship Id="rId66" Type="http://schemas.openxmlformats.org/officeDocument/2006/relationships/tags" Target="../tags/tag86.xml"/><Relationship Id="rId87" Type="http://schemas.openxmlformats.org/officeDocument/2006/relationships/tags" Target="../tags/tag107.xml"/><Relationship Id="rId110" Type="http://schemas.openxmlformats.org/officeDocument/2006/relationships/image" Target="../media/image1.emf"/><Relationship Id="rId61" Type="http://schemas.openxmlformats.org/officeDocument/2006/relationships/tags" Target="../tags/tag81.xml"/><Relationship Id="rId82" Type="http://schemas.openxmlformats.org/officeDocument/2006/relationships/tags" Target="../tags/tag102.xml"/><Relationship Id="rId19" Type="http://schemas.openxmlformats.org/officeDocument/2006/relationships/tags" Target="../tags/tag39.xml"/><Relationship Id="rId14" Type="http://schemas.openxmlformats.org/officeDocument/2006/relationships/tags" Target="../tags/tag34.xml"/><Relationship Id="rId30" Type="http://schemas.openxmlformats.org/officeDocument/2006/relationships/tags" Target="../tags/tag50.xml"/><Relationship Id="rId35" Type="http://schemas.openxmlformats.org/officeDocument/2006/relationships/tags" Target="../tags/tag55.xml"/><Relationship Id="rId56" Type="http://schemas.openxmlformats.org/officeDocument/2006/relationships/tags" Target="../tags/tag76.xml"/><Relationship Id="rId77" Type="http://schemas.openxmlformats.org/officeDocument/2006/relationships/tags" Target="../tags/tag97.xml"/><Relationship Id="rId100" Type="http://schemas.openxmlformats.org/officeDocument/2006/relationships/tags" Target="../tags/tag120.xml"/><Relationship Id="rId105" Type="http://schemas.openxmlformats.org/officeDocument/2006/relationships/tags" Target="../tags/tag125.xml"/><Relationship Id="rId8" Type="http://schemas.openxmlformats.org/officeDocument/2006/relationships/tags" Target="../tags/tag28.xml"/><Relationship Id="rId51" Type="http://schemas.openxmlformats.org/officeDocument/2006/relationships/tags" Target="../tags/tag71.xml"/><Relationship Id="rId72" Type="http://schemas.openxmlformats.org/officeDocument/2006/relationships/tags" Target="../tags/tag92.xml"/><Relationship Id="rId93" Type="http://schemas.openxmlformats.org/officeDocument/2006/relationships/tags" Target="../tags/tag113.xml"/><Relationship Id="rId98" Type="http://schemas.openxmlformats.org/officeDocument/2006/relationships/tags" Target="../tags/tag118.xml"/><Relationship Id="rId3" Type="http://schemas.openxmlformats.org/officeDocument/2006/relationships/tags" Target="../tags/tag23.xml"/><Relationship Id="rId25" Type="http://schemas.openxmlformats.org/officeDocument/2006/relationships/tags" Target="../tags/tag45.xml"/><Relationship Id="rId46" Type="http://schemas.openxmlformats.org/officeDocument/2006/relationships/tags" Target="../tags/tag66.xml"/><Relationship Id="rId67" Type="http://schemas.openxmlformats.org/officeDocument/2006/relationships/tags" Target="../tags/tag87.xml"/><Relationship Id="rId20" Type="http://schemas.openxmlformats.org/officeDocument/2006/relationships/tags" Target="../tags/tag40.xml"/><Relationship Id="rId41" Type="http://schemas.openxmlformats.org/officeDocument/2006/relationships/tags" Target="../tags/tag61.xml"/><Relationship Id="rId62" Type="http://schemas.openxmlformats.org/officeDocument/2006/relationships/tags" Target="../tags/tag82.xml"/><Relationship Id="rId83" Type="http://schemas.openxmlformats.org/officeDocument/2006/relationships/tags" Target="../tags/tag103.xml"/><Relationship Id="rId88" Type="http://schemas.openxmlformats.org/officeDocument/2006/relationships/tags" Target="../tags/tag10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14.emf"/><Relationship Id="rId2" Type="http://schemas.openxmlformats.org/officeDocument/2006/relationships/tags" Target="../tags/tag13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5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image" Target="../media/image14.emf"/><Relationship Id="rId2" Type="http://schemas.openxmlformats.org/officeDocument/2006/relationships/tags" Target="../tags/tag13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image" Target="../media/image14.emf"/><Relationship Id="rId2" Type="http://schemas.openxmlformats.org/officeDocument/2006/relationships/tags" Target="../tags/tag13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1.xml"/><Relationship Id="rId7" Type="http://schemas.openxmlformats.org/officeDocument/2006/relationships/image" Target="../media/image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Autofit/>
          </a:bodyPr>
          <a:lstStyle/>
          <a:p>
            <a:r>
              <a:rPr lang="en-US" sz="4400" dirty="0" smtClean="0"/>
              <a:t>Project CASA:</a:t>
            </a:r>
            <a:br>
              <a:rPr lang="en-US" sz="4400" dirty="0" smtClean="0"/>
            </a:br>
            <a:r>
              <a:rPr lang="cs-CZ" sz="4400" dirty="0" err="1" smtClean="0"/>
              <a:t>Final</a:t>
            </a:r>
            <a:r>
              <a:rPr lang="cs-CZ" sz="4400" dirty="0" smtClean="0"/>
              <a:t> Project </a:t>
            </a:r>
            <a:r>
              <a:rPr lang="cs-CZ" sz="4400" dirty="0" err="1" smtClean="0"/>
              <a:t>Presentation</a:t>
            </a:r>
            <a:endParaRPr lang="cs-CZ" sz="44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endParaRPr lang="cs-CZ" dirty="0"/>
          </a:p>
          <a:p>
            <a:r>
              <a:rPr lang="cs-CZ" dirty="0" smtClean="0"/>
              <a:t>May </a:t>
            </a:r>
            <a:r>
              <a:rPr lang="cs-CZ" dirty="0" smtClean="0"/>
              <a:t>25, </a:t>
            </a:r>
            <a:r>
              <a:rPr lang="cs-CZ" dirty="0" smtClean="0"/>
              <a:t>2017</a:t>
            </a:r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100" b="0" dirty="0" err="1" smtClean="0"/>
              <a:t>Yevgeniya</a:t>
            </a:r>
            <a:r>
              <a:rPr lang="en-US" sz="1100" b="0" dirty="0" smtClean="0"/>
              <a:t> </a:t>
            </a:r>
            <a:r>
              <a:rPr lang="en-US" sz="1100" b="0" dirty="0" err="1"/>
              <a:t>Chekh</a:t>
            </a:r>
            <a:r>
              <a:rPr lang="en-US" sz="1100" b="0" dirty="0"/>
              <a:t>, Jan </a:t>
            </a:r>
            <a:r>
              <a:rPr lang="en-US" sz="1100" b="0" dirty="0" err="1"/>
              <a:t>Kohout</a:t>
            </a:r>
            <a:r>
              <a:rPr lang="en-US" sz="1100" b="0" dirty="0"/>
              <a:t>, David </a:t>
            </a:r>
            <a:r>
              <a:rPr lang="en-US" sz="1100" b="0" dirty="0" err="1"/>
              <a:t>Löffler</a:t>
            </a:r>
            <a:r>
              <a:rPr lang="en-US" sz="1100" b="0" dirty="0"/>
              <a:t>, </a:t>
            </a:r>
            <a:r>
              <a:rPr lang="cs-CZ" sz="1100" b="0" dirty="0" smtClean="0"/>
              <a:t>Miroslav </a:t>
            </a:r>
            <a:r>
              <a:rPr lang="cs-CZ" sz="1100" b="0" dirty="0" err="1" smtClean="0"/>
              <a:t>Rudišin</a:t>
            </a:r>
            <a:r>
              <a:rPr lang="cs-CZ" sz="1100" b="0" dirty="0" smtClean="0"/>
              <a:t>, </a:t>
            </a:r>
            <a:r>
              <a:rPr lang="en-US" sz="1100" b="0" dirty="0" err="1" smtClean="0"/>
              <a:t>Kryštof</a:t>
            </a:r>
            <a:r>
              <a:rPr lang="en-US" sz="1100" b="0" dirty="0" smtClean="0"/>
              <a:t> </a:t>
            </a:r>
            <a:r>
              <a:rPr lang="en-US" sz="1100" b="0" dirty="0" err="1"/>
              <a:t>Sýkora</a:t>
            </a:r>
            <a:r>
              <a:rPr lang="en-US" sz="1100" b="0" dirty="0"/>
              <a:t>, Marek Szeles, Ho Minh Thanh</a:t>
            </a:r>
            <a:endParaRPr lang="cs-CZ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CASA </a:t>
            </a:r>
            <a:r>
              <a:rPr lang="cs-CZ" dirty="0" err="1" smtClean="0"/>
              <a:t>is</a:t>
            </a:r>
            <a:r>
              <a:rPr lang="cs-CZ" dirty="0" smtClean="0"/>
              <a:t> a </a:t>
            </a:r>
            <a:r>
              <a:rPr lang="cs-CZ" dirty="0" err="1" smtClean="0"/>
              <a:t>success</a:t>
            </a:r>
            <a:r>
              <a:rPr lang="cs-CZ" dirty="0" smtClean="0"/>
              <a:t>!</a:t>
            </a:r>
            <a:endParaRPr lang="cs-CZ" dirty="0"/>
          </a:p>
        </p:txBody>
      </p:sp>
      <p:grpSp>
        <p:nvGrpSpPr>
          <p:cNvPr id="4" name="Group 3"/>
          <p:cNvGrpSpPr/>
          <p:nvPr/>
        </p:nvGrpSpPr>
        <p:grpSpPr>
          <a:xfrm>
            <a:off x="1150951" y="2554337"/>
            <a:ext cx="7723048" cy="3702316"/>
            <a:chOff x="1150951" y="2677794"/>
            <a:chExt cx="7723048" cy="3702316"/>
          </a:xfrm>
        </p:grpSpPr>
        <p:sp>
          <p:nvSpPr>
            <p:cNvPr id="6" name="Rectangle 3"/>
            <p:cNvSpPr>
              <a:spLocks noChangeArrowheads="1"/>
            </p:cNvSpPr>
            <p:nvPr/>
          </p:nvSpPr>
          <p:spPr bwMode="auto">
            <a:xfrm>
              <a:off x="1284408" y="459508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/>
                <a:t>Review</a:t>
              </a:r>
              <a:r>
                <a:rPr lang="cs-CZ" sz="2000" b="1" dirty="0"/>
                <a:t> </a:t>
              </a:r>
              <a:r>
                <a:rPr lang="cs-CZ" sz="2000" b="1" dirty="0" err="1"/>
                <a:t>code</a:t>
              </a:r>
              <a:r>
                <a:rPr lang="cs-CZ" sz="2000" b="1" dirty="0"/>
                <a:t> </a:t>
              </a:r>
              <a:r>
                <a:rPr lang="cs-CZ" sz="2000" b="1" dirty="0" err="1" smtClean="0"/>
                <a:t>testing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progress</a:t>
              </a:r>
              <a:endParaRPr lang="en-US" sz="2000" b="1" dirty="0"/>
            </a:p>
          </p:txBody>
        </p:sp>
        <p:sp>
          <p:nvSpPr>
            <p:cNvPr id="7" name="AutoShape 5"/>
            <p:cNvSpPr>
              <a:spLocks noChangeArrowheads="1"/>
            </p:cNvSpPr>
            <p:nvPr/>
          </p:nvSpPr>
          <p:spPr bwMode="auto">
            <a:xfrm>
              <a:off x="1285278" y="459508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1171330" y="491362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Right Arrow 8"/>
            <p:cNvSpPr/>
            <p:nvPr/>
          </p:nvSpPr>
          <p:spPr>
            <a:xfrm>
              <a:off x="1150951" y="499672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3"/>
            <p:cNvSpPr>
              <a:spLocks noChangeArrowheads="1"/>
            </p:cNvSpPr>
            <p:nvPr/>
          </p:nvSpPr>
          <p:spPr bwMode="auto">
            <a:xfrm>
              <a:off x="1284408" y="556223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Define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next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steps</a:t>
              </a:r>
              <a:endParaRPr lang="en-US" sz="2000" b="1" dirty="0"/>
            </a:p>
          </p:txBody>
        </p:sp>
        <p:sp>
          <p:nvSpPr>
            <p:cNvPr id="11" name="AutoShape 5"/>
            <p:cNvSpPr>
              <a:spLocks noChangeArrowheads="1"/>
            </p:cNvSpPr>
            <p:nvPr/>
          </p:nvSpPr>
          <p:spPr bwMode="auto">
            <a:xfrm>
              <a:off x="1285278" y="556223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1171330" y="588078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Right Arrow 12"/>
            <p:cNvSpPr/>
            <p:nvPr/>
          </p:nvSpPr>
          <p:spPr>
            <a:xfrm>
              <a:off x="1150951" y="596387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Rectangle 3"/>
            <p:cNvSpPr>
              <a:spLocks noChangeArrowheads="1"/>
            </p:cNvSpPr>
            <p:nvPr/>
          </p:nvSpPr>
          <p:spPr bwMode="auto">
            <a:xfrm>
              <a:off x="1284408" y="267779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en-US" sz="2000" b="1" dirty="0"/>
                <a:t>Present </a:t>
              </a:r>
              <a:r>
                <a:rPr lang="en-US" sz="2000" b="1" dirty="0" smtClean="0"/>
                <a:t>overview of project</a:t>
              </a:r>
              <a:r>
                <a:rPr lang="cs-CZ" sz="2000" b="1" dirty="0" smtClean="0"/>
                <a:t> status</a:t>
              </a:r>
              <a:endParaRPr lang="en-US" sz="2000" b="1" dirty="0"/>
            </a:p>
          </p:txBody>
        </p:sp>
        <p:sp>
          <p:nvSpPr>
            <p:cNvPr id="18" name="AutoShape 5"/>
            <p:cNvSpPr>
              <a:spLocks noChangeArrowheads="1"/>
            </p:cNvSpPr>
            <p:nvPr/>
          </p:nvSpPr>
          <p:spPr bwMode="auto">
            <a:xfrm>
              <a:off x="1285278" y="267779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1171330" y="299633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Right Arrow 19"/>
            <p:cNvSpPr/>
            <p:nvPr/>
          </p:nvSpPr>
          <p:spPr>
            <a:xfrm>
              <a:off x="1150951" y="307943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3"/>
            <p:cNvSpPr>
              <a:spLocks noChangeArrowheads="1"/>
            </p:cNvSpPr>
            <p:nvPr/>
          </p:nvSpPr>
          <p:spPr bwMode="auto">
            <a:xfrm>
              <a:off x="1284408" y="364494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Review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code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translating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progress</a:t>
              </a:r>
              <a:endParaRPr lang="en-US" sz="2000" b="1" dirty="0"/>
            </a:p>
          </p:txBody>
        </p:sp>
        <p:sp>
          <p:nvSpPr>
            <p:cNvPr id="23" name="AutoShape 5"/>
            <p:cNvSpPr>
              <a:spLocks noChangeArrowheads="1"/>
            </p:cNvSpPr>
            <p:nvPr/>
          </p:nvSpPr>
          <p:spPr bwMode="auto">
            <a:xfrm>
              <a:off x="1285278" y="364494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1171330" y="396349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>
              <a:off x="1150951" y="404658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1207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team </a:t>
            </a:r>
            <a:r>
              <a:rPr lang="cs-CZ" dirty="0" err="1" smtClean="0">
                <a:solidFill>
                  <a:schemeClr val="bg1"/>
                </a:solidFill>
              </a:rPr>
              <a:t>assesment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7179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4865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Team</a:t>
            </a:r>
            <a:r>
              <a:rPr lang="cs-CZ" dirty="0" smtClean="0"/>
              <a:t> Update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8767206"/>
              </p:ext>
            </p:extLst>
          </p:nvPr>
        </p:nvGraphicFramePr>
        <p:xfrm>
          <a:off x="455613" y="2478437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6756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status </a:t>
            </a:r>
            <a:r>
              <a:rPr lang="cs-CZ" dirty="0" err="1" smtClean="0">
                <a:solidFill>
                  <a:schemeClr val="bg1"/>
                </a:solidFill>
              </a:rPr>
              <a:t>overview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737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730" y="2535381"/>
            <a:ext cx="4428211" cy="19553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731" y="4232185"/>
            <a:ext cx="8410224" cy="218430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is</a:t>
            </a:r>
            <a:r>
              <a:rPr lang="cs-CZ" dirty="0" smtClean="0"/>
              <a:t> </a:t>
            </a:r>
            <a:r>
              <a:rPr lang="cs-CZ" dirty="0" err="1" smtClean="0"/>
              <a:t>being</a:t>
            </a:r>
            <a:r>
              <a:rPr lang="cs-CZ" dirty="0" smtClean="0"/>
              <a:t> </a:t>
            </a:r>
            <a:r>
              <a:rPr lang="cs-CZ" dirty="0" err="1" smtClean="0"/>
              <a:t>steadily</a:t>
            </a:r>
            <a:r>
              <a:rPr lang="cs-CZ" dirty="0" smtClean="0"/>
              <a:t> </a:t>
            </a:r>
            <a:r>
              <a:rPr lang="cs-CZ" dirty="0" err="1" smtClean="0"/>
              <a:t>updated</a:t>
            </a:r>
            <a:r>
              <a:rPr lang="cs-CZ" dirty="0" smtClean="0"/>
              <a:t>…</a:t>
            </a:r>
            <a:endParaRPr lang="cs-CZ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6883" y="2780880"/>
            <a:ext cx="4652684" cy="190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9564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2"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…and </a:t>
            </a:r>
            <a:r>
              <a:rPr lang="cs-CZ" dirty="0" err="1" smtClean="0"/>
              <a:t>we</a:t>
            </a:r>
            <a:r>
              <a:rPr lang="cs-CZ" dirty="0" smtClean="0"/>
              <a:t> are </a:t>
            </a:r>
            <a:r>
              <a:rPr lang="cs-CZ" dirty="0" err="1" smtClean="0"/>
              <a:t>still</a:t>
            </a:r>
            <a:r>
              <a:rPr lang="cs-CZ" dirty="0" smtClean="0"/>
              <a:t> </a:t>
            </a:r>
            <a:r>
              <a:rPr lang="cs-CZ" dirty="0" err="1" smtClean="0"/>
              <a:t>within</a:t>
            </a:r>
            <a:r>
              <a:rPr lang="cs-CZ" dirty="0" smtClean="0"/>
              <a:t> </a:t>
            </a:r>
            <a:r>
              <a:rPr lang="cs-CZ" dirty="0" err="1" smtClean="0"/>
              <a:t>planned</a:t>
            </a:r>
            <a:r>
              <a:rPr lang="cs-CZ" dirty="0" smtClean="0"/>
              <a:t> </a:t>
            </a:r>
            <a:r>
              <a:rPr lang="cs-CZ" dirty="0" err="1" smtClean="0"/>
              <a:t>schedule</a:t>
            </a:r>
            <a:endParaRPr lang="cs-CZ" dirty="0"/>
          </a:p>
        </p:txBody>
      </p:sp>
      <p:sp>
        <p:nvSpPr>
          <p:cNvPr id="114" name="Rectangle 113"/>
          <p:cNvSpPr/>
          <p:nvPr>
            <p:custDataLst>
              <p:tags r:id="rId4"/>
            </p:custDataLst>
          </p:nvPr>
        </p:nvSpPr>
        <p:spPr bwMode="gray">
          <a:xfrm>
            <a:off x="7034961" y="4573588"/>
            <a:ext cx="861264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>
            <p:custDataLst>
              <p:tags r:id="rId5"/>
            </p:custDataLst>
          </p:nvPr>
        </p:nvSpPr>
        <p:spPr bwMode="gray">
          <a:xfrm>
            <a:off x="6551895" y="4573588"/>
            <a:ext cx="476714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ectangle 115"/>
          <p:cNvSpPr/>
          <p:nvPr>
            <p:custDataLst>
              <p:tags r:id="rId6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 116"/>
          <p:cNvSpPr/>
          <p:nvPr>
            <p:custDataLst>
              <p:tags r:id="rId7"/>
            </p:custDataLst>
          </p:nvPr>
        </p:nvSpPr>
        <p:spPr bwMode="gray">
          <a:xfrm>
            <a:off x="7028609" y="4215607"/>
            <a:ext cx="86761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17"/>
          <p:cNvSpPr/>
          <p:nvPr>
            <p:custDataLst>
              <p:tags r:id="rId8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118"/>
          <p:cNvSpPr/>
          <p:nvPr>
            <p:custDataLst>
              <p:tags r:id="rId9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/>
          <p:cNvSpPr/>
          <p:nvPr>
            <p:custDataLst>
              <p:tags r:id="rId10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 120"/>
          <p:cNvSpPr/>
          <p:nvPr>
            <p:custDataLst>
              <p:tags r:id="rId11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tangle 121"/>
          <p:cNvSpPr/>
          <p:nvPr>
            <p:custDataLst>
              <p:tags r:id="rId12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128"/>
          <p:cNvSpPr/>
          <p:nvPr>
            <p:custDataLst>
              <p:tags r:id="rId13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Rectangle 132"/>
          <p:cNvSpPr/>
          <p:nvPr>
            <p:custDataLst>
              <p:tags r:id="rId14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Rectangle 133"/>
          <p:cNvSpPr/>
          <p:nvPr>
            <p:custDataLst>
              <p:tags r:id="rId15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55" name="Straight Connector 154"/>
          <p:cNvCxnSpPr/>
          <p:nvPr>
            <p:custDataLst>
              <p:tags r:id="rId34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>
            <p:custDataLst>
              <p:tags r:id="rId35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>
            <p:custDataLst>
              <p:tags r:id="rId36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>
            <p:custDataLst>
              <p:tags r:id="rId37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>
            <p:custDataLst>
              <p:tags r:id="rId38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>
            <p:custDataLst>
              <p:tags r:id="rId39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>
            <p:custDataLst>
              <p:tags r:id="rId40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>
            <p:custDataLst>
              <p:tags r:id="rId41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 162"/>
          <p:cNvSpPr/>
          <p:nvPr>
            <p:custDataLst>
              <p:tags r:id="rId42"/>
            </p:custDataLst>
          </p:nvPr>
        </p:nvSpPr>
        <p:spPr bwMode="gray">
          <a:xfrm>
            <a:off x="7028609" y="3857625"/>
            <a:ext cx="261191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Rectangle 163"/>
          <p:cNvSpPr/>
          <p:nvPr>
            <p:custDataLst>
              <p:tags r:id="rId43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Rectangle 164"/>
          <p:cNvSpPr/>
          <p:nvPr>
            <p:custDataLst>
              <p:tags r:id="rId44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Rectangle 165"/>
          <p:cNvSpPr/>
          <p:nvPr>
            <p:custDataLst>
              <p:tags r:id="rId45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Rectangle 166"/>
          <p:cNvSpPr/>
          <p:nvPr>
            <p:custDataLst>
              <p:tags r:id="rId46"/>
            </p:custDataLst>
          </p:nvPr>
        </p:nvSpPr>
        <p:spPr bwMode="gray">
          <a:xfrm>
            <a:off x="5138738" y="3857625"/>
            <a:ext cx="1889872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Rectangle 167"/>
          <p:cNvSpPr/>
          <p:nvPr>
            <p:custDataLst>
              <p:tags r:id="rId47"/>
            </p:custDataLst>
          </p:nvPr>
        </p:nvSpPr>
        <p:spPr bwMode="gray">
          <a:xfrm>
            <a:off x="2319339" y="3857625"/>
            <a:ext cx="1406524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 168"/>
          <p:cNvSpPr/>
          <p:nvPr>
            <p:custDataLst>
              <p:tags r:id="rId48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Rectangle 169"/>
          <p:cNvSpPr/>
          <p:nvPr>
            <p:custDataLst>
              <p:tags r:id="rId49"/>
            </p:custDataLst>
          </p:nvPr>
        </p:nvSpPr>
        <p:spPr bwMode="gray">
          <a:xfrm>
            <a:off x="3725863" y="4214813"/>
            <a:ext cx="3302747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Rectangle 170"/>
          <p:cNvSpPr/>
          <p:nvPr>
            <p:custDataLst>
              <p:tags r:id="rId50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2" name="Straight Connector 171"/>
          <p:cNvCxnSpPr/>
          <p:nvPr>
            <p:custDataLst>
              <p:tags r:id="rId51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/>
          <p:cNvCxnSpPr/>
          <p:nvPr>
            <p:custDataLst>
              <p:tags r:id="rId52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/>
          <p:cNvCxnSpPr/>
          <p:nvPr>
            <p:custDataLst>
              <p:tags r:id="rId53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/>
          <p:nvPr>
            <p:custDataLst>
              <p:tags r:id="rId54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/>
          <p:cNvCxnSpPr/>
          <p:nvPr>
            <p:custDataLst>
              <p:tags r:id="rId55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/>
          <p:nvPr>
            <p:custDataLst>
              <p:tags r:id="rId56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/>
          <p:cNvCxnSpPr/>
          <p:nvPr>
            <p:custDataLst>
              <p:tags r:id="rId57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/>
          <p:cNvCxnSpPr/>
          <p:nvPr>
            <p:custDataLst>
              <p:tags r:id="rId58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>
            <p:custDataLst>
              <p:tags r:id="rId59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/>
          <p:nvPr>
            <p:custDataLst>
              <p:tags r:id="rId60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/>
          <p:nvPr>
            <p:custDataLst>
              <p:tags r:id="rId61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/>
          <p:cNvCxnSpPr/>
          <p:nvPr>
            <p:custDataLst>
              <p:tags r:id="rId62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/>
          <p:nvPr>
            <p:custDataLst>
              <p:tags r:id="rId63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/>
          <p:cNvCxnSpPr/>
          <p:nvPr>
            <p:custDataLst>
              <p:tags r:id="rId64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>
            <p:custDataLst>
              <p:tags r:id="rId65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/>
          <p:cNvCxnSpPr/>
          <p:nvPr>
            <p:custDataLst>
              <p:tags r:id="rId66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/>
          <p:cNvCxnSpPr/>
          <p:nvPr>
            <p:custDataLst>
              <p:tags r:id="rId67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/>
          <p:cNvCxnSpPr/>
          <p:nvPr>
            <p:custDataLst>
              <p:tags r:id="rId68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/>
          <p:cNvCxnSpPr/>
          <p:nvPr>
            <p:custDataLst>
              <p:tags r:id="rId69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/>
          <p:cNvCxnSpPr/>
          <p:nvPr>
            <p:custDataLst>
              <p:tags r:id="rId70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ight Bracket 191"/>
          <p:cNvSpPr/>
          <p:nvPr>
            <p:custDataLst>
              <p:tags r:id="rId71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Isosceles Triangle 192"/>
          <p:cNvSpPr/>
          <p:nvPr>
            <p:custDataLst>
              <p:tags r:id="rId72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4" name="Isosceles Triangle 193"/>
          <p:cNvSpPr/>
          <p:nvPr>
            <p:custDataLst>
              <p:tags r:id="rId73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5" name="Isosceles Triangle 194"/>
          <p:cNvSpPr/>
          <p:nvPr>
            <p:custDataLst>
              <p:tags r:id="rId74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Isosceles Triangle 195"/>
          <p:cNvSpPr/>
          <p:nvPr>
            <p:custDataLst>
              <p:tags r:id="rId75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8" name="Diamond 197"/>
          <p:cNvSpPr/>
          <p:nvPr>
            <p:custDataLst>
              <p:tags r:id="rId76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9" name="Diamond 198"/>
          <p:cNvSpPr/>
          <p:nvPr>
            <p:custDataLst>
              <p:tags r:id="rId7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0" name="Diamond 199"/>
          <p:cNvSpPr/>
          <p:nvPr>
            <p:custDataLst>
              <p:tags r:id="rId7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1" name="Isosceles Triangle 200"/>
          <p:cNvSpPr/>
          <p:nvPr>
            <p:custDataLst>
              <p:tags r:id="rId79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2" name="Diamond 201"/>
          <p:cNvSpPr/>
          <p:nvPr>
            <p:custDataLst>
              <p:tags r:id="rId80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3" name="Isosceles Triangle 202"/>
          <p:cNvSpPr/>
          <p:nvPr>
            <p:custDataLst>
              <p:tags r:id="rId81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Diamond 203"/>
          <p:cNvSpPr/>
          <p:nvPr>
            <p:custDataLst>
              <p:tags r:id="rId82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06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07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8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9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211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212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3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4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21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6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217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218" name="Straight Connector 217"/>
          <p:cNvCxnSpPr/>
          <p:nvPr>
            <p:custDataLst>
              <p:tags r:id="rId96"/>
            </p:custDataLst>
          </p:nvPr>
        </p:nvCxnSpPr>
        <p:spPr bwMode="gray">
          <a:xfrm>
            <a:off x="7028610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219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6619500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sp>
        <p:nvSpPr>
          <p:cNvPr id="220" name="Isosceles Triangle 219"/>
          <p:cNvSpPr/>
          <p:nvPr>
            <p:custDataLst>
              <p:tags r:id="rId98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1" name="Isosceles Triangle 220"/>
          <p:cNvSpPr/>
          <p:nvPr>
            <p:custDataLst>
              <p:tags r:id="rId99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2" name="Isosceles Triangle 221"/>
          <p:cNvSpPr/>
          <p:nvPr>
            <p:custDataLst>
              <p:tags r:id="rId100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3" name="Isosceles Triangle 222"/>
          <p:cNvSpPr/>
          <p:nvPr>
            <p:custDataLst>
              <p:tags r:id="rId101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4" name="Isosceles Triangle 223"/>
          <p:cNvSpPr/>
          <p:nvPr>
            <p:custDataLst>
              <p:tags r:id="rId102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5" name="Isosceles Triangle 224"/>
          <p:cNvSpPr/>
          <p:nvPr>
            <p:custDataLst>
              <p:tags r:id="rId103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6" name="Isosceles Triangle 225"/>
          <p:cNvSpPr/>
          <p:nvPr>
            <p:custDataLst>
              <p:tags r:id="rId104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7" name="Isosceles Triangle 226"/>
          <p:cNvSpPr/>
          <p:nvPr>
            <p:custDataLst>
              <p:tags r:id="rId105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28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97" name="Isosceles Triangle 196"/>
          <p:cNvSpPr/>
          <p:nvPr>
            <p:custDataLst>
              <p:tags r:id="rId107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Today</a:t>
            </a:r>
            <a:r>
              <a:rPr lang="cs-CZ" dirty="0" smtClean="0"/>
              <a:t> </a:t>
            </a:r>
            <a:r>
              <a:rPr lang="cs-CZ" dirty="0" err="1" smtClean="0"/>
              <a:t>we</a:t>
            </a:r>
            <a:r>
              <a:rPr lang="cs-CZ" dirty="0" smtClean="0"/>
              <a:t> </a:t>
            </a:r>
            <a:r>
              <a:rPr lang="cs-CZ" dirty="0" err="1" smtClean="0"/>
              <a:t>need</a:t>
            </a:r>
            <a:r>
              <a:rPr lang="cs-CZ" dirty="0" smtClean="0"/>
              <a:t> to:</a:t>
            </a:r>
            <a:endParaRPr lang="cs-CZ" dirty="0"/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45561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solv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quest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ColumnContent"/>
          <p:cNvSpPr>
            <a:spLocks noChangeArrowheads="1"/>
          </p:cNvSpPr>
          <p:nvPr/>
        </p:nvSpPr>
        <p:spPr bwMode="gray">
          <a:xfrm>
            <a:off x="45561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uld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k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mplement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iginal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d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wo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sing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ules</a:t>
            </a:r>
            <a:endParaRPr lang="cs-CZ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e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ttachment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R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sing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alysis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3343708" y="3614109"/>
            <a:ext cx="2460768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iscuss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blem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3343708" y="4352773"/>
            <a:ext cx="2460768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blem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av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risen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uring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d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olumnHeader"/>
          <p:cNvSpPr>
            <a:spLocks noChangeArrowheads="1"/>
          </p:cNvSpPr>
          <p:nvPr/>
        </p:nvSpPr>
        <p:spPr bwMode="gray">
          <a:xfrm>
            <a:off x="622308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vise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esting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rategy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ColumnContent"/>
          <p:cNvSpPr>
            <a:spLocks noChangeArrowheads="1"/>
          </p:cNvSpPr>
          <p:nvPr/>
        </p:nvSpPr>
        <p:spPr bwMode="gray">
          <a:xfrm>
            <a:off x="622308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ule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test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ub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are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lready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place - 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8" name="Group 36"/>
          <p:cNvGrpSpPr>
            <a:grpSpLocks noChangeAspect="1"/>
          </p:cNvGrpSpPr>
          <p:nvPr/>
        </p:nvGrpSpPr>
        <p:grpSpPr bwMode="auto">
          <a:xfrm>
            <a:off x="4132428" y="2716527"/>
            <a:ext cx="883328" cy="763588"/>
            <a:chOff x="3514" y="1018"/>
            <a:chExt cx="2641" cy="2283"/>
          </a:xfrm>
          <a:solidFill>
            <a:srgbClr val="4472C4"/>
          </a:solidFill>
        </p:grpSpPr>
        <p:sp>
          <p:nvSpPr>
            <p:cNvPr id="29" name="Freeform 38"/>
            <p:cNvSpPr>
              <a:spLocks noEditPoints="1"/>
            </p:cNvSpPr>
            <p:nvPr/>
          </p:nvSpPr>
          <p:spPr bwMode="auto">
            <a:xfrm>
              <a:off x="3514" y="1018"/>
              <a:ext cx="2641" cy="2283"/>
            </a:xfrm>
            <a:custGeom>
              <a:avLst/>
              <a:gdLst>
                <a:gd name="T0" fmla="*/ 383 w 5282"/>
                <a:gd name="T1" fmla="*/ 3127 h 4566"/>
                <a:gd name="T2" fmla="*/ 4899 w 5282"/>
                <a:gd name="T3" fmla="*/ 384 h 4566"/>
                <a:gd name="T4" fmla="*/ 257 w 5282"/>
                <a:gd name="T5" fmla="*/ 0 h 4566"/>
                <a:gd name="T6" fmla="*/ 5072 w 5282"/>
                <a:gd name="T7" fmla="*/ 4 h 4566"/>
                <a:gd name="T8" fmla="*/ 5156 w 5282"/>
                <a:gd name="T9" fmla="*/ 36 h 4566"/>
                <a:gd name="T10" fmla="*/ 5221 w 5282"/>
                <a:gd name="T11" fmla="*/ 90 h 4566"/>
                <a:gd name="T12" fmla="*/ 5266 w 5282"/>
                <a:gd name="T13" fmla="*/ 168 h 4566"/>
                <a:gd name="T14" fmla="*/ 5282 w 5282"/>
                <a:gd name="T15" fmla="*/ 256 h 4566"/>
                <a:gd name="T16" fmla="*/ 5278 w 5282"/>
                <a:gd name="T17" fmla="*/ 3300 h 4566"/>
                <a:gd name="T18" fmla="*/ 5247 w 5282"/>
                <a:gd name="T19" fmla="*/ 3384 h 4566"/>
                <a:gd name="T20" fmla="*/ 5191 w 5282"/>
                <a:gd name="T21" fmla="*/ 3451 h 4566"/>
                <a:gd name="T22" fmla="*/ 5116 w 5282"/>
                <a:gd name="T23" fmla="*/ 3494 h 4566"/>
                <a:gd name="T24" fmla="*/ 5026 w 5282"/>
                <a:gd name="T25" fmla="*/ 3511 h 4566"/>
                <a:gd name="T26" fmla="*/ 3243 w 5282"/>
                <a:gd name="T27" fmla="*/ 4092 h 4566"/>
                <a:gd name="T28" fmla="*/ 3985 w 5282"/>
                <a:gd name="T29" fmla="*/ 4097 h 4566"/>
                <a:gd name="T30" fmla="*/ 4068 w 5282"/>
                <a:gd name="T31" fmla="*/ 4132 h 4566"/>
                <a:gd name="T32" fmla="*/ 4133 w 5282"/>
                <a:gd name="T33" fmla="*/ 4196 h 4566"/>
                <a:gd name="T34" fmla="*/ 4168 w 5282"/>
                <a:gd name="T35" fmla="*/ 4280 h 4566"/>
                <a:gd name="T36" fmla="*/ 4168 w 5282"/>
                <a:gd name="T37" fmla="*/ 4376 h 4566"/>
                <a:gd name="T38" fmla="*/ 4133 w 5282"/>
                <a:gd name="T39" fmla="*/ 4462 h 4566"/>
                <a:gd name="T40" fmla="*/ 4068 w 5282"/>
                <a:gd name="T41" fmla="*/ 4524 h 4566"/>
                <a:gd name="T42" fmla="*/ 3985 w 5282"/>
                <a:gd name="T43" fmla="*/ 4561 h 4566"/>
                <a:gd name="T44" fmla="*/ 1345 w 5282"/>
                <a:gd name="T45" fmla="*/ 4566 h 4566"/>
                <a:gd name="T46" fmla="*/ 1254 w 5282"/>
                <a:gd name="T47" fmla="*/ 4547 h 4566"/>
                <a:gd name="T48" fmla="*/ 1179 w 5282"/>
                <a:gd name="T49" fmla="*/ 4495 h 4566"/>
                <a:gd name="T50" fmla="*/ 1127 w 5282"/>
                <a:gd name="T51" fmla="*/ 4421 h 4566"/>
                <a:gd name="T52" fmla="*/ 1110 w 5282"/>
                <a:gd name="T53" fmla="*/ 4328 h 4566"/>
                <a:gd name="T54" fmla="*/ 1127 w 5282"/>
                <a:gd name="T55" fmla="*/ 4237 h 4566"/>
                <a:gd name="T56" fmla="*/ 1179 w 5282"/>
                <a:gd name="T57" fmla="*/ 4161 h 4566"/>
                <a:gd name="T58" fmla="*/ 1254 w 5282"/>
                <a:gd name="T59" fmla="*/ 4110 h 4566"/>
                <a:gd name="T60" fmla="*/ 1345 w 5282"/>
                <a:gd name="T61" fmla="*/ 4092 h 4566"/>
                <a:gd name="T62" fmla="*/ 2040 w 5282"/>
                <a:gd name="T63" fmla="*/ 3511 h 4566"/>
                <a:gd name="T64" fmla="*/ 210 w 5282"/>
                <a:gd name="T65" fmla="*/ 3507 h 4566"/>
                <a:gd name="T66" fmla="*/ 127 w 5282"/>
                <a:gd name="T67" fmla="*/ 3475 h 4566"/>
                <a:gd name="T68" fmla="*/ 61 w 5282"/>
                <a:gd name="T69" fmla="*/ 3419 h 4566"/>
                <a:gd name="T70" fmla="*/ 16 w 5282"/>
                <a:gd name="T71" fmla="*/ 3343 h 4566"/>
                <a:gd name="T72" fmla="*/ 0 w 5282"/>
                <a:gd name="T73" fmla="*/ 3255 h 4566"/>
                <a:gd name="T74" fmla="*/ 5 w 5282"/>
                <a:gd name="T75" fmla="*/ 211 h 4566"/>
                <a:gd name="T76" fmla="*/ 35 w 5282"/>
                <a:gd name="T77" fmla="*/ 127 h 4566"/>
                <a:gd name="T78" fmla="*/ 91 w 5282"/>
                <a:gd name="T79" fmla="*/ 60 h 4566"/>
                <a:gd name="T80" fmla="*/ 167 w 5282"/>
                <a:gd name="T81" fmla="*/ 17 h 4566"/>
                <a:gd name="T82" fmla="*/ 257 w 5282"/>
                <a:gd name="T83" fmla="*/ 0 h 4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82" h="4566">
                  <a:moveTo>
                    <a:pt x="383" y="384"/>
                  </a:moveTo>
                  <a:lnTo>
                    <a:pt x="383" y="3127"/>
                  </a:lnTo>
                  <a:lnTo>
                    <a:pt x="4899" y="3127"/>
                  </a:lnTo>
                  <a:lnTo>
                    <a:pt x="4899" y="384"/>
                  </a:lnTo>
                  <a:lnTo>
                    <a:pt x="383" y="384"/>
                  </a:lnTo>
                  <a:close/>
                  <a:moveTo>
                    <a:pt x="257" y="0"/>
                  </a:moveTo>
                  <a:lnTo>
                    <a:pt x="5026" y="0"/>
                  </a:lnTo>
                  <a:lnTo>
                    <a:pt x="5072" y="4"/>
                  </a:lnTo>
                  <a:lnTo>
                    <a:pt x="5116" y="17"/>
                  </a:lnTo>
                  <a:lnTo>
                    <a:pt x="5156" y="36"/>
                  </a:lnTo>
                  <a:lnTo>
                    <a:pt x="5191" y="60"/>
                  </a:lnTo>
                  <a:lnTo>
                    <a:pt x="5221" y="90"/>
                  </a:lnTo>
                  <a:lnTo>
                    <a:pt x="5247" y="127"/>
                  </a:lnTo>
                  <a:lnTo>
                    <a:pt x="5266" y="168"/>
                  </a:lnTo>
                  <a:lnTo>
                    <a:pt x="5278" y="211"/>
                  </a:lnTo>
                  <a:lnTo>
                    <a:pt x="5282" y="256"/>
                  </a:lnTo>
                  <a:lnTo>
                    <a:pt x="5282" y="3255"/>
                  </a:lnTo>
                  <a:lnTo>
                    <a:pt x="5278" y="3300"/>
                  </a:lnTo>
                  <a:lnTo>
                    <a:pt x="5266" y="3343"/>
                  </a:lnTo>
                  <a:lnTo>
                    <a:pt x="5247" y="3384"/>
                  </a:lnTo>
                  <a:lnTo>
                    <a:pt x="5221" y="3419"/>
                  </a:lnTo>
                  <a:lnTo>
                    <a:pt x="5191" y="3451"/>
                  </a:lnTo>
                  <a:lnTo>
                    <a:pt x="5156" y="3475"/>
                  </a:lnTo>
                  <a:lnTo>
                    <a:pt x="5116" y="3494"/>
                  </a:lnTo>
                  <a:lnTo>
                    <a:pt x="5072" y="3507"/>
                  </a:lnTo>
                  <a:lnTo>
                    <a:pt x="5026" y="3511"/>
                  </a:lnTo>
                  <a:lnTo>
                    <a:pt x="3243" y="3511"/>
                  </a:lnTo>
                  <a:lnTo>
                    <a:pt x="3243" y="4092"/>
                  </a:lnTo>
                  <a:lnTo>
                    <a:pt x="3937" y="4092"/>
                  </a:lnTo>
                  <a:lnTo>
                    <a:pt x="3985" y="4097"/>
                  </a:lnTo>
                  <a:lnTo>
                    <a:pt x="4028" y="4110"/>
                  </a:lnTo>
                  <a:lnTo>
                    <a:pt x="4068" y="4132"/>
                  </a:lnTo>
                  <a:lnTo>
                    <a:pt x="4104" y="4161"/>
                  </a:lnTo>
                  <a:lnTo>
                    <a:pt x="4133" y="4196"/>
                  </a:lnTo>
                  <a:lnTo>
                    <a:pt x="4155" y="4237"/>
                  </a:lnTo>
                  <a:lnTo>
                    <a:pt x="4168" y="4280"/>
                  </a:lnTo>
                  <a:lnTo>
                    <a:pt x="4173" y="4328"/>
                  </a:lnTo>
                  <a:lnTo>
                    <a:pt x="4168" y="4376"/>
                  </a:lnTo>
                  <a:lnTo>
                    <a:pt x="4155" y="4421"/>
                  </a:lnTo>
                  <a:lnTo>
                    <a:pt x="4133" y="4462"/>
                  </a:lnTo>
                  <a:lnTo>
                    <a:pt x="4104" y="4495"/>
                  </a:lnTo>
                  <a:lnTo>
                    <a:pt x="4068" y="4524"/>
                  </a:lnTo>
                  <a:lnTo>
                    <a:pt x="4028" y="4547"/>
                  </a:lnTo>
                  <a:lnTo>
                    <a:pt x="3985" y="4561"/>
                  </a:lnTo>
                  <a:lnTo>
                    <a:pt x="3937" y="4566"/>
                  </a:lnTo>
                  <a:lnTo>
                    <a:pt x="1345" y="4566"/>
                  </a:lnTo>
                  <a:lnTo>
                    <a:pt x="1297" y="4561"/>
                  </a:lnTo>
                  <a:lnTo>
                    <a:pt x="1254" y="4547"/>
                  </a:lnTo>
                  <a:lnTo>
                    <a:pt x="1214" y="4524"/>
                  </a:lnTo>
                  <a:lnTo>
                    <a:pt x="1179" y="4495"/>
                  </a:lnTo>
                  <a:lnTo>
                    <a:pt x="1150" y="4462"/>
                  </a:lnTo>
                  <a:lnTo>
                    <a:pt x="1127" y="4421"/>
                  </a:lnTo>
                  <a:lnTo>
                    <a:pt x="1115" y="4376"/>
                  </a:lnTo>
                  <a:lnTo>
                    <a:pt x="1110" y="4328"/>
                  </a:lnTo>
                  <a:lnTo>
                    <a:pt x="1115" y="4280"/>
                  </a:lnTo>
                  <a:lnTo>
                    <a:pt x="1127" y="4237"/>
                  </a:lnTo>
                  <a:lnTo>
                    <a:pt x="1150" y="4196"/>
                  </a:lnTo>
                  <a:lnTo>
                    <a:pt x="1179" y="4161"/>
                  </a:lnTo>
                  <a:lnTo>
                    <a:pt x="1214" y="4132"/>
                  </a:lnTo>
                  <a:lnTo>
                    <a:pt x="1254" y="4110"/>
                  </a:lnTo>
                  <a:lnTo>
                    <a:pt x="1297" y="4097"/>
                  </a:lnTo>
                  <a:lnTo>
                    <a:pt x="1345" y="4092"/>
                  </a:lnTo>
                  <a:lnTo>
                    <a:pt x="2040" y="4092"/>
                  </a:lnTo>
                  <a:lnTo>
                    <a:pt x="2040" y="3511"/>
                  </a:lnTo>
                  <a:lnTo>
                    <a:pt x="257" y="3511"/>
                  </a:lnTo>
                  <a:lnTo>
                    <a:pt x="210" y="3507"/>
                  </a:lnTo>
                  <a:lnTo>
                    <a:pt x="167" y="3494"/>
                  </a:lnTo>
                  <a:lnTo>
                    <a:pt x="127" y="3475"/>
                  </a:lnTo>
                  <a:lnTo>
                    <a:pt x="91" y="3451"/>
                  </a:lnTo>
                  <a:lnTo>
                    <a:pt x="61" y="3419"/>
                  </a:lnTo>
                  <a:lnTo>
                    <a:pt x="35" y="3384"/>
                  </a:lnTo>
                  <a:lnTo>
                    <a:pt x="16" y="3343"/>
                  </a:lnTo>
                  <a:lnTo>
                    <a:pt x="5" y="3300"/>
                  </a:lnTo>
                  <a:lnTo>
                    <a:pt x="0" y="3255"/>
                  </a:lnTo>
                  <a:lnTo>
                    <a:pt x="0" y="256"/>
                  </a:lnTo>
                  <a:lnTo>
                    <a:pt x="5" y="211"/>
                  </a:lnTo>
                  <a:lnTo>
                    <a:pt x="16" y="168"/>
                  </a:lnTo>
                  <a:lnTo>
                    <a:pt x="35" y="127"/>
                  </a:lnTo>
                  <a:lnTo>
                    <a:pt x="61" y="90"/>
                  </a:lnTo>
                  <a:lnTo>
                    <a:pt x="91" y="60"/>
                  </a:lnTo>
                  <a:lnTo>
                    <a:pt x="127" y="36"/>
                  </a:lnTo>
                  <a:lnTo>
                    <a:pt x="167" y="17"/>
                  </a:lnTo>
                  <a:lnTo>
                    <a:pt x="210" y="4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0" name="Freeform 39"/>
            <p:cNvSpPr>
              <a:spLocks/>
            </p:cNvSpPr>
            <p:nvPr/>
          </p:nvSpPr>
          <p:spPr bwMode="auto">
            <a:xfrm>
              <a:off x="4074" y="1625"/>
              <a:ext cx="560" cy="539"/>
            </a:xfrm>
            <a:custGeom>
              <a:avLst/>
              <a:gdLst>
                <a:gd name="T0" fmla="*/ 964 w 1121"/>
                <a:gd name="T1" fmla="*/ 0 h 1078"/>
                <a:gd name="T2" fmla="*/ 993 w 1121"/>
                <a:gd name="T3" fmla="*/ 4 h 1078"/>
                <a:gd name="T4" fmla="*/ 1022 w 1121"/>
                <a:gd name="T5" fmla="*/ 12 h 1078"/>
                <a:gd name="T6" fmla="*/ 1048 w 1121"/>
                <a:gd name="T7" fmla="*/ 26 h 1078"/>
                <a:gd name="T8" fmla="*/ 1073 w 1121"/>
                <a:gd name="T9" fmla="*/ 45 h 1078"/>
                <a:gd name="T10" fmla="*/ 1094 w 1121"/>
                <a:gd name="T11" fmla="*/ 69 h 1078"/>
                <a:gd name="T12" fmla="*/ 1108 w 1121"/>
                <a:gd name="T13" fmla="*/ 97 h 1078"/>
                <a:gd name="T14" fmla="*/ 1118 w 1121"/>
                <a:gd name="T15" fmla="*/ 126 h 1078"/>
                <a:gd name="T16" fmla="*/ 1121 w 1121"/>
                <a:gd name="T17" fmla="*/ 158 h 1078"/>
                <a:gd name="T18" fmla="*/ 1121 w 1121"/>
                <a:gd name="T19" fmla="*/ 161 h 1078"/>
                <a:gd name="T20" fmla="*/ 1116 w 1121"/>
                <a:gd name="T21" fmla="*/ 198 h 1078"/>
                <a:gd name="T22" fmla="*/ 1105 w 1121"/>
                <a:gd name="T23" fmla="*/ 230 h 1078"/>
                <a:gd name="T24" fmla="*/ 1086 w 1121"/>
                <a:gd name="T25" fmla="*/ 261 h 1078"/>
                <a:gd name="T26" fmla="*/ 1060 w 1121"/>
                <a:gd name="T27" fmla="*/ 285 h 1078"/>
                <a:gd name="T28" fmla="*/ 1030 w 1121"/>
                <a:gd name="T29" fmla="*/ 304 h 1078"/>
                <a:gd name="T30" fmla="*/ 525 w 1121"/>
                <a:gd name="T31" fmla="*/ 538 h 1078"/>
                <a:gd name="T32" fmla="*/ 1030 w 1121"/>
                <a:gd name="T33" fmla="*/ 775 h 1078"/>
                <a:gd name="T34" fmla="*/ 1060 w 1121"/>
                <a:gd name="T35" fmla="*/ 792 h 1078"/>
                <a:gd name="T36" fmla="*/ 1086 w 1121"/>
                <a:gd name="T37" fmla="*/ 818 h 1078"/>
                <a:gd name="T38" fmla="*/ 1105 w 1121"/>
                <a:gd name="T39" fmla="*/ 847 h 1078"/>
                <a:gd name="T40" fmla="*/ 1116 w 1121"/>
                <a:gd name="T41" fmla="*/ 881 h 1078"/>
                <a:gd name="T42" fmla="*/ 1121 w 1121"/>
                <a:gd name="T43" fmla="*/ 916 h 1078"/>
                <a:gd name="T44" fmla="*/ 1121 w 1121"/>
                <a:gd name="T45" fmla="*/ 921 h 1078"/>
                <a:gd name="T46" fmla="*/ 1118 w 1121"/>
                <a:gd name="T47" fmla="*/ 953 h 1078"/>
                <a:gd name="T48" fmla="*/ 1108 w 1121"/>
                <a:gd name="T49" fmla="*/ 982 h 1078"/>
                <a:gd name="T50" fmla="*/ 1094 w 1121"/>
                <a:gd name="T51" fmla="*/ 1009 h 1078"/>
                <a:gd name="T52" fmla="*/ 1073 w 1121"/>
                <a:gd name="T53" fmla="*/ 1033 h 1078"/>
                <a:gd name="T54" fmla="*/ 1048 w 1121"/>
                <a:gd name="T55" fmla="*/ 1053 h 1078"/>
                <a:gd name="T56" fmla="*/ 1022 w 1121"/>
                <a:gd name="T57" fmla="*/ 1067 h 1078"/>
                <a:gd name="T58" fmla="*/ 993 w 1121"/>
                <a:gd name="T59" fmla="*/ 1075 h 1078"/>
                <a:gd name="T60" fmla="*/ 964 w 1121"/>
                <a:gd name="T61" fmla="*/ 1078 h 1078"/>
                <a:gd name="T62" fmla="*/ 930 w 1121"/>
                <a:gd name="T63" fmla="*/ 1073 h 1078"/>
                <a:gd name="T64" fmla="*/ 898 w 1121"/>
                <a:gd name="T65" fmla="*/ 1064 h 1078"/>
                <a:gd name="T66" fmla="*/ 90 w 1121"/>
                <a:gd name="T67" fmla="*/ 688 h 1078"/>
                <a:gd name="T68" fmla="*/ 60 w 1121"/>
                <a:gd name="T69" fmla="*/ 669 h 1078"/>
                <a:gd name="T70" fmla="*/ 36 w 1121"/>
                <a:gd name="T71" fmla="*/ 643 h 1078"/>
                <a:gd name="T72" fmla="*/ 16 w 1121"/>
                <a:gd name="T73" fmla="*/ 614 h 1078"/>
                <a:gd name="T74" fmla="*/ 4 w 1121"/>
                <a:gd name="T75" fmla="*/ 580 h 1078"/>
                <a:gd name="T76" fmla="*/ 0 w 1121"/>
                <a:gd name="T77" fmla="*/ 545 h 1078"/>
                <a:gd name="T78" fmla="*/ 0 w 1121"/>
                <a:gd name="T79" fmla="*/ 534 h 1078"/>
                <a:gd name="T80" fmla="*/ 4 w 1121"/>
                <a:gd name="T81" fmla="*/ 498 h 1078"/>
                <a:gd name="T82" fmla="*/ 16 w 1121"/>
                <a:gd name="T83" fmla="*/ 465 h 1078"/>
                <a:gd name="T84" fmla="*/ 36 w 1121"/>
                <a:gd name="T85" fmla="*/ 434 h 1078"/>
                <a:gd name="T86" fmla="*/ 60 w 1121"/>
                <a:gd name="T87" fmla="*/ 410 h 1078"/>
                <a:gd name="T88" fmla="*/ 90 w 1121"/>
                <a:gd name="T89" fmla="*/ 391 h 1078"/>
                <a:gd name="T90" fmla="*/ 898 w 1121"/>
                <a:gd name="T91" fmla="*/ 15 h 1078"/>
                <a:gd name="T92" fmla="*/ 930 w 1121"/>
                <a:gd name="T93" fmla="*/ 5 h 1078"/>
                <a:gd name="T94" fmla="*/ 964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964" y="0"/>
                  </a:moveTo>
                  <a:lnTo>
                    <a:pt x="993" y="4"/>
                  </a:lnTo>
                  <a:lnTo>
                    <a:pt x="1022" y="12"/>
                  </a:lnTo>
                  <a:lnTo>
                    <a:pt x="1048" y="26"/>
                  </a:lnTo>
                  <a:lnTo>
                    <a:pt x="1073" y="45"/>
                  </a:lnTo>
                  <a:lnTo>
                    <a:pt x="1094" y="69"/>
                  </a:lnTo>
                  <a:lnTo>
                    <a:pt x="1108" y="97"/>
                  </a:lnTo>
                  <a:lnTo>
                    <a:pt x="1118" y="126"/>
                  </a:lnTo>
                  <a:lnTo>
                    <a:pt x="1121" y="158"/>
                  </a:lnTo>
                  <a:lnTo>
                    <a:pt x="1121" y="161"/>
                  </a:lnTo>
                  <a:lnTo>
                    <a:pt x="1116" y="198"/>
                  </a:lnTo>
                  <a:lnTo>
                    <a:pt x="1105" y="230"/>
                  </a:lnTo>
                  <a:lnTo>
                    <a:pt x="1086" y="261"/>
                  </a:lnTo>
                  <a:lnTo>
                    <a:pt x="1060" y="285"/>
                  </a:lnTo>
                  <a:lnTo>
                    <a:pt x="1030" y="304"/>
                  </a:lnTo>
                  <a:lnTo>
                    <a:pt x="525" y="538"/>
                  </a:lnTo>
                  <a:lnTo>
                    <a:pt x="1030" y="775"/>
                  </a:lnTo>
                  <a:lnTo>
                    <a:pt x="1060" y="792"/>
                  </a:lnTo>
                  <a:lnTo>
                    <a:pt x="1086" y="818"/>
                  </a:lnTo>
                  <a:lnTo>
                    <a:pt x="1105" y="847"/>
                  </a:lnTo>
                  <a:lnTo>
                    <a:pt x="1116" y="881"/>
                  </a:lnTo>
                  <a:lnTo>
                    <a:pt x="1121" y="916"/>
                  </a:lnTo>
                  <a:lnTo>
                    <a:pt x="1121" y="921"/>
                  </a:lnTo>
                  <a:lnTo>
                    <a:pt x="1118" y="953"/>
                  </a:lnTo>
                  <a:lnTo>
                    <a:pt x="1108" y="982"/>
                  </a:lnTo>
                  <a:lnTo>
                    <a:pt x="1094" y="1009"/>
                  </a:lnTo>
                  <a:lnTo>
                    <a:pt x="1073" y="1033"/>
                  </a:lnTo>
                  <a:lnTo>
                    <a:pt x="1048" y="1053"/>
                  </a:lnTo>
                  <a:lnTo>
                    <a:pt x="1022" y="1067"/>
                  </a:lnTo>
                  <a:lnTo>
                    <a:pt x="993" y="1075"/>
                  </a:lnTo>
                  <a:lnTo>
                    <a:pt x="964" y="1078"/>
                  </a:lnTo>
                  <a:lnTo>
                    <a:pt x="930" y="1073"/>
                  </a:lnTo>
                  <a:lnTo>
                    <a:pt x="898" y="1064"/>
                  </a:lnTo>
                  <a:lnTo>
                    <a:pt x="90" y="688"/>
                  </a:lnTo>
                  <a:lnTo>
                    <a:pt x="60" y="669"/>
                  </a:lnTo>
                  <a:lnTo>
                    <a:pt x="36" y="643"/>
                  </a:lnTo>
                  <a:lnTo>
                    <a:pt x="16" y="614"/>
                  </a:lnTo>
                  <a:lnTo>
                    <a:pt x="4" y="580"/>
                  </a:lnTo>
                  <a:lnTo>
                    <a:pt x="0" y="545"/>
                  </a:lnTo>
                  <a:lnTo>
                    <a:pt x="0" y="534"/>
                  </a:lnTo>
                  <a:lnTo>
                    <a:pt x="4" y="498"/>
                  </a:lnTo>
                  <a:lnTo>
                    <a:pt x="16" y="465"/>
                  </a:lnTo>
                  <a:lnTo>
                    <a:pt x="36" y="434"/>
                  </a:lnTo>
                  <a:lnTo>
                    <a:pt x="60" y="410"/>
                  </a:lnTo>
                  <a:lnTo>
                    <a:pt x="90" y="391"/>
                  </a:lnTo>
                  <a:lnTo>
                    <a:pt x="898" y="15"/>
                  </a:lnTo>
                  <a:lnTo>
                    <a:pt x="930" y="5"/>
                  </a:lnTo>
                  <a:lnTo>
                    <a:pt x="964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1" name="Freeform 40"/>
            <p:cNvSpPr>
              <a:spLocks/>
            </p:cNvSpPr>
            <p:nvPr/>
          </p:nvSpPr>
          <p:spPr bwMode="auto">
            <a:xfrm>
              <a:off x="4623" y="1401"/>
              <a:ext cx="423" cy="982"/>
            </a:xfrm>
            <a:custGeom>
              <a:avLst/>
              <a:gdLst>
                <a:gd name="T0" fmla="*/ 686 w 847"/>
                <a:gd name="T1" fmla="*/ 0 h 1963"/>
                <a:gd name="T2" fmla="*/ 691 w 847"/>
                <a:gd name="T3" fmla="*/ 0 h 1963"/>
                <a:gd name="T4" fmla="*/ 728 w 847"/>
                <a:gd name="T5" fmla="*/ 3 h 1963"/>
                <a:gd name="T6" fmla="*/ 762 w 847"/>
                <a:gd name="T7" fmla="*/ 16 h 1963"/>
                <a:gd name="T8" fmla="*/ 792 w 847"/>
                <a:gd name="T9" fmla="*/ 37 h 1963"/>
                <a:gd name="T10" fmla="*/ 818 w 847"/>
                <a:gd name="T11" fmla="*/ 64 h 1963"/>
                <a:gd name="T12" fmla="*/ 835 w 847"/>
                <a:gd name="T13" fmla="*/ 96 h 1963"/>
                <a:gd name="T14" fmla="*/ 845 w 847"/>
                <a:gd name="T15" fmla="*/ 131 h 1963"/>
                <a:gd name="T16" fmla="*/ 847 w 847"/>
                <a:gd name="T17" fmla="*/ 168 h 1963"/>
                <a:gd name="T18" fmla="*/ 840 w 847"/>
                <a:gd name="T19" fmla="*/ 204 h 1963"/>
                <a:gd name="T20" fmla="*/ 309 w 847"/>
                <a:gd name="T21" fmla="*/ 1854 h 1963"/>
                <a:gd name="T22" fmla="*/ 295 w 847"/>
                <a:gd name="T23" fmla="*/ 1884 h 1963"/>
                <a:gd name="T24" fmla="*/ 276 w 847"/>
                <a:gd name="T25" fmla="*/ 1911 h 1963"/>
                <a:gd name="T26" fmla="*/ 252 w 847"/>
                <a:gd name="T27" fmla="*/ 1934 h 1963"/>
                <a:gd name="T28" fmla="*/ 224 w 847"/>
                <a:gd name="T29" fmla="*/ 1950 h 1963"/>
                <a:gd name="T30" fmla="*/ 192 w 847"/>
                <a:gd name="T31" fmla="*/ 1960 h 1963"/>
                <a:gd name="T32" fmla="*/ 160 w 847"/>
                <a:gd name="T33" fmla="*/ 1963 h 1963"/>
                <a:gd name="T34" fmla="*/ 155 w 847"/>
                <a:gd name="T35" fmla="*/ 1963 h 1963"/>
                <a:gd name="T36" fmla="*/ 118 w 847"/>
                <a:gd name="T37" fmla="*/ 1960 h 1963"/>
                <a:gd name="T38" fmla="*/ 85 w 847"/>
                <a:gd name="T39" fmla="*/ 1947 h 1963"/>
                <a:gd name="T40" fmla="*/ 54 w 847"/>
                <a:gd name="T41" fmla="*/ 1926 h 1963"/>
                <a:gd name="T42" fmla="*/ 29 w 847"/>
                <a:gd name="T43" fmla="*/ 1899 h 1963"/>
                <a:gd name="T44" fmla="*/ 11 w 847"/>
                <a:gd name="T45" fmla="*/ 1866 h 1963"/>
                <a:gd name="T46" fmla="*/ 1 w 847"/>
                <a:gd name="T47" fmla="*/ 1831 h 1963"/>
                <a:gd name="T48" fmla="*/ 0 w 847"/>
                <a:gd name="T49" fmla="*/ 1794 h 1963"/>
                <a:gd name="T50" fmla="*/ 6 w 847"/>
                <a:gd name="T51" fmla="*/ 1759 h 1963"/>
                <a:gd name="T52" fmla="*/ 537 w 847"/>
                <a:gd name="T53" fmla="*/ 109 h 1963"/>
                <a:gd name="T54" fmla="*/ 551 w 847"/>
                <a:gd name="T55" fmla="*/ 77 h 1963"/>
                <a:gd name="T56" fmla="*/ 571 w 847"/>
                <a:gd name="T57" fmla="*/ 51 h 1963"/>
                <a:gd name="T58" fmla="*/ 595 w 847"/>
                <a:gd name="T59" fmla="*/ 29 h 1963"/>
                <a:gd name="T60" fmla="*/ 622 w 847"/>
                <a:gd name="T61" fmla="*/ 13 h 1963"/>
                <a:gd name="T62" fmla="*/ 654 w 847"/>
                <a:gd name="T63" fmla="*/ 3 h 1963"/>
                <a:gd name="T64" fmla="*/ 686 w 847"/>
                <a:gd name="T65" fmla="*/ 0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7" h="1963">
                  <a:moveTo>
                    <a:pt x="686" y="0"/>
                  </a:moveTo>
                  <a:lnTo>
                    <a:pt x="691" y="0"/>
                  </a:lnTo>
                  <a:lnTo>
                    <a:pt x="728" y="3"/>
                  </a:lnTo>
                  <a:lnTo>
                    <a:pt x="762" y="16"/>
                  </a:lnTo>
                  <a:lnTo>
                    <a:pt x="792" y="37"/>
                  </a:lnTo>
                  <a:lnTo>
                    <a:pt x="818" y="64"/>
                  </a:lnTo>
                  <a:lnTo>
                    <a:pt x="835" y="96"/>
                  </a:lnTo>
                  <a:lnTo>
                    <a:pt x="845" y="131"/>
                  </a:lnTo>
                  <a:lnTo>
                    <a:pt x="847" y="168"/>
                  </a:lnTo>
                  <a:lnTo>
                    <a:pt x="840" y="204"/>
                  </a:lnTo>
                  <a:lnTo>
                    <a:pt x="309" y="1854"/>
                  </a:lnTo>
                  <a:lnTo>
                    <a:pt x="295" y="1884"/>
                  </a:lnTo>
                  <a:lnTo>
                    <a:pt x="276" y="1911"/>
                  </a:lnTo>
                  <a:lnTo>
                    <a:pt x="252" y="1934"/>
                  </a:lnTo>
                  <a:lnTo>
                    <a:pt x="224" y="1950"/>
                  </a:lnTo>
                  <a:lnTo>
                    <a:pt x="192" y="1960"/>
                  </a:lnTo>
                  <a:lnTo>
                    <a:pt x="160" y="1963"/>
                  </a:lnTo>
                  <a:lnTo>
                    <a:pt x="155" y="1963"/>
                  </a:lnTo>
                  <a:lnTo>
                    <a:pt x="118" y="1960"/>
                  </a:lnTo>
                  <a:lnTo>
                    <a:pt x="85" y="1947"/>
                  </a:lnTo>
                  <a:lnTo>
                    <a:pt x="54" y="1926"/>
                  </a:lnTo>
                  <a:lnTo>
                    <a:pt x="29" y="1899"/>
                  </a:lnTo>
                  <a:lnTo>
                    <a:pt x="11" y="1866"/>
                  </a:lnTo>
                  <a:lnTo>
                    <a:pt x="1" y="1831"/>
                  </a:lnTo>
                  <a:lnTo>
                    <a:pt x="0" y="1794"/>
                  </a:lnTo>
                  <a:lnTo>
                    <a:pt x="6" y="1759"/>
                  </a:lnTo>
                  <a:lnTo>
                    <a:pt x="537" y="109"/>
                  </a:lnTo>
                  <a:lnTo>
                    <a:pt x="551" y="77"/>
                  </a:lnTo>
                  <a:lnTo>
                    <a:pt x="571" y="51"/>
                  </a:lnTo>
                  <a:lnTo>
                    <a:pt x="595" y="29"/>
                  </a:lnTo>
                  <a:lnTo>
                    <a:pt x="622" y="13"/>
                  </a:lnTo>
                  <a:lnTo>
                    <a:pt x="654" y="3"/>
                  </a:lnTo>
                  <a:lnTo>
                    <a:pt x="686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2" name="Freeform 41"/>
            <p:cNvSpPr>
              <a:spLocks/>
            </p:cNvSpPr>
            <p:nvPr/>
          </p:nvSpPr>
          <p:spPr bwMode="auto">
            <a:xfrm>
              <a:off x="5035" y="1625"/>
              <a:ext cx="561" cy="539"/>
            </a:xfrm>
            <a:custGeom>
              <a:avLst/>
              <a:gdLst>
                <a:gd name="T0" fmla="*/ 157 w 1121"/>
                <a:gd name="T1" fmla="*/ 0 h 1078"/>
                <a:gd name="T2" fmla="*/ 191 w 1121"/>
                <a:gd name="T3" fmla="*/ 5 h 1078"/>
                <a:gd name="T4" fmla="*/ 223 w 1121"/>
                <a:gd name="T5" fmla="*/ 15 h 1078"/>
                <a:gd name="T6" fmla="*/ 1031 w 1121"/>
                <a:gd name="T7" fmla="*/ 391 h 1078"/>
                <a:gd name="T8" fmla="*/ 1062 w 1121"/>
                <a:gd name="T9" fmla="*/ 410 h 1078"/>
                <a:gd name="T10" fmla="*/ 1086 w 1121"/>
                <a:gd name="T11" fmla="*/ 434 h 1078"/>
                <a:gd name="T12" fmla="*/ 1105 w 1121"/>
                <a:gd name="T13" fmla="*/ 465 h 1078"/>
                <a:gd name="T14" fmla="*/ 1118 w 1121"/>
                <a:gd name="T15" fmla="*/ 498 h 1078"/>
                <a:gd name="T16" fmla="*/ 1121 w 1121"/>
                <a:gd name="T17" fmla="*/ 534 h 1078"/>
                <a:gd name="T18" fmla="*/ 1121 w 1121"/>
                <a:gd name="T19" fmla="*/ 545 h 1078"/>
                <a:gd name="T20" fmla="*/ 1118 w 1121"/>
                <a:gd name="T21" fmla="*/ 580 h 1078"/>
                <a:gd name="T22" fmla="*/ 1105 w 1121"/>
                <a:gd name="T23" fmla="*/ 614 h 1078"/>
                <a:gd name="T24" fmla="*/ 1086 w 1121"/>
                <a:gd name="T25" fmla="*/ 643 h 1078"/>
                <a:gd name="T26" fmla="*/ 1062 w 1121"/>
                <a:gd name="T27" fmla="*/ 669 h 1078"/>
                <a:gd name="T28" fmla="*/ 1031 w 1121"/>
                <a:gd name="T29" fmla="*/ 688 h 1078"/>
                <a:gd name="T30" fmla="*/ 223 w 1121"/>
                <a:gd name="T31" fmla="*/ 1064 h 1078"/>
                <a:gd name="T32" fmla="*/ 191 w 1121"/>
                <a:gd name="T33" fmla="*/ 1073 h 1078"/>
                <a:gd name="T34" fmla="*/ 157 w 1121"/>
                <a:gd name="T35" fmla="*/ 1078 h 1078"/>
                <a:gd name="T36" fmla="*/ 128 w 1121"/>
                <a:gd name="T37" fmla="*/ 1075 h 1078"/>
                <a:gd name="T38" fmla="*/ 100 w 1121"/>
                <a:gd name="T39" fmla="*/ 1067 h 1078"/>
                <a:gd name="T40" fmla="*/ 74 w 1121"/>
                <a:gd name="T41" fmla="*/ 1053 h 1078"/>
                <a:gd name="T42" fmla="*/ 48 w 1121"/>
                <a:gd name="T43" fmla="*/ 1033 h 1078"/>
                <a:gd name="T44" fmla="*/ 27 w 1121"/>
                <a:gd name="T45" fmla="*/ 1009 h 1078"/>
                <a:gd name="T46" fmla="*/ 13 w 1121"/>
                <a:gd name="T47" fmla="*/ 982 h 1078"/>
                <a:gd name="T48" fmla="*/ 3 w 1121"/>
                <a:gd name="T49" fmla="*/ 953 h 1078"/>
                <a:gd name="T50" fmla="*/ 0 w 1121"/>
                <a:gd name="T51" fmla="*/ 921 h 1078"/>
                <a:gd name="T52" fmla="*/ 0 w 1121"/>
                <a:gd name="T53" fmla="*/ 916 h 1078"/>
                <a:gd name="T54" fmla="*/ 5 w 1121"/>
                <a:gd name="T55" fmla="*/ 881 h 1078"/>
                <a:gd name="T56" fmla="*/ 16 w 1121"/>
                <a:gd name="T57" fmla="*/ 847 h 1078"/>
                <a:gd name="T58" fmla="*/ 35 w 1121"/>
                <a:gd name="T59" fmla="*/ 818 h 1078"/>
                <a:gd name="T60" fmla="*/ 61 w 1121"/>
                <a:gd name="T61" fmla="*/ 792 h 1078"/>
                <a:gd name="T62" fmla="*/ 92 w 1121"/>
                <a:gd name="T63" fmla="*/ 775 h 1078"/>
                <a:gd name="T64" fmla="*/ 597 w 1121"/>
                <a:gd name="T65" fmla="*/ 538 h 1078"/>
                <a:gd name="T66" fmla="*/ 92 w 1121"/>
                <a:gd name="T67" fmla="*/ 304 h 1078"/>
                <a:gd name="T68" fmla="*/ 61 w 1121"/>
                <a:gd name="T69" fmla="*/ 285 h 1078"/>
                <a:gd name="T70" fmla="*/ 35 w 1121"/>
                <a:gd name="T71" fmla="*/ 261 h 1078"/>
                <a:gd name="T72" fmla="*/ 16 w 1121"/>
                <a:gd name="T73" fmla="*/ 230 h 1078"/>
                <a:gd name="T74" fmla="*/ 5 w 1121"/>
                <a:gd name="T75" fmla="*/ 198 h 1078"/>
                <a:gd name="T76" fmla="*/ 0 w 1121"/>
                <a:gd name="T77" fmla="*/ 161 h 1078"/>
                <a:gd name="T78" fmla="*/ 0 w 1121"/>
                <a:gd name="T79" fmla="*/ 158 h 1078"/>
                <a:gd name="T80" fmla="*/ 3 w 1121"/>
                <a:gd name="T81" fmla="*/ 126 h 1078"/>
                <a:gd name="T82" fmla="*/ 13 w 1121"/>
                <a:gd name="T83" fmla="*/ 97 h 1078"/>
                <a:gd name="T84" fmla="*/ 27 w 1121"/>
                <a:gd name="T85" fmla="*/ 69 h 1078"/>
                <a:gd name="T86" fmla="*/ 48 w 1121"/>
                <a:gd name="T87" fmla="*/ 45 h 1078"/>
                <a:gd name="T88" fmla="*/ 74 w 1121"/>
                <a:gd name="T89" fmla="*/ 24 h 1078"/>
                <a:gd name="T90" fmla="*/ 100 w 1121"/>
                <a:gd name="T91" fmla="*/ 12 h 1078"/>
                <a:gd name="T92" fmla="*/ 128 w 1121"/>
                <a:gd name="T93" fmla="*/ 4 h 1078"/>
                <a:gd name="T94" fmla="*/ 157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157" y="0"/>
                  </a:moveTo>
                  <a:lnTo>
                    <a:pt x="191" y="5"/>
                  </a:lnTo>
                  <a:lnTo>
                    <a:pt x="223" y="15"/>
                  </a:lnTo>
                  <a:lnTo>
                    <a:pt x="1031" y="391"/>
                  </a:lnTo>
                  <a:lnTo>
                    <a:pt x="1062" y="410"/>
                  </a:lnTo>
                  <a:lnTo>
                    <a:pt x="1086" y="434"/>
                  </a:lnTo>
                  <a:lnTo>
                    <a:pt x="1105" y="465"/>
                  </a:lnTo>
                  <a:lnTo>
                    <a:pt x="1118" y="498"/>
                  </a:lnTo>
                  <a:lnTo>
                    <a:pt x="1121" y="534"/>
                  </a:lnTo>
                  <a:lnTo>
                    <a:pt x="1121" y="545"/>
                  </a:lnTo>
                  <a:lnTo>
                    <a:pt x="1118" y="580"/>
                  </a:lnTo>
                  <a:lnTo>
                    <a:pt x="1105" y="614"/>
                  </a:lnTo>
                  <a:lnTo>
                    <a:pt x="1086" y="643"/>
                  </a:lnTo>
                  <a:lnTo>
                    <a:pt x="1062" y="669"/>
                  </a:lnTo>
                  <a:lnTo>
                    <a:pt x="1031" y="688"/>
                  </a:lnTo>
                  <a:lnTo>
                    <a:pt x="223" y="1064"/>
                  </a:lnTo>
                  <a:lnTo>
                    <a:pt x="191" y="1073"/>
                  </a:lnTo>
                  <a:lnTo>
                    <a:pt x="157" y="1078"/>
                  </a:lnTo>
                  <a:lnTo>
                    <a:pt x="128" y="1075"/>
                  </a:lnTo>
                  <a:lnTo>
                    <a:pt x="100" y="1067"/>
                  </a:lnTo>
                  <a:lnTo>
                    <a:pt x="74" y="1053"/>
                  </a:lnTo>
                  <a:lnTo>
                    <a:pt x="48" y="1033"/>
                  </a:lnTo>
                  <a:lnTo>
                    <a:pt x="27" y="1009"/>
                  </a:lnTo>
                  <a:lnTo>
                    <a:pt x="13" y="982"/>
                  </a:lnTo>
                  <a:lnTo>
                    <a:pt x="3" y="953"/>
                  </a:lnTo>
                  <a:lnTo>
                    <a:pt x="0" y="921"/>
                  </a:lnTo>
                  <a:lnTo>
                    <a:pt x="0" y="916"/>
                  </a:lnTo>
                  <a:lnTo>
                    <a:pt x="5" y="881"/>
                  </a:lnTo>
                  <a:lnTo>
                    <a:pt x="16" y="847"/>
                  </a:lnTo>
                  <a:lnTo>
                    <a:pt x="35" y="818"/>
                  </a:lnTo>
                  <a:lnTo>
                    <a:pt x="61" y="792"/>
                  </a:lnTo>
                  <a:lnTo>
                    <a:pt x="92" y="775"/>
                  </a:lnTo>
                  <a:lnTo>
                    <a:pt x="597" y="538"/>
                  </a:lnTo>
                  <a:lnTo>
                    <a:pt x="92" y="304"/>
                  </a:lnTo>
                  <a:lnTo>
                    <a:pt x="61" y="285"/>
                  </a:lnTo>
                  <a:lnTo>
                    <a:pt x="35" y="261"/>
                  </a:lnTo>
                  <a:lnTo>
                    <a:pt x="16" y="230"/>
                  </a:lnTo>
                  <a:lnTo>
                    <a:pt x="5" y="198"/>
                  </a:lnTo>
                  <a:lnTo>
                    <a:pt x="0" y="161"/>
                  </a:lnTo>
                  <a:lnTo>
                    <a:pt x="0" y="158"/>
                  </a:lnTo>
                  <a:lnTo>
                    <a:pt x="3" y="126"/>
                  </a:lnTo>
                  <a:lnTo>
                    <a:pt x="13" y="97"/>
                  </a:lnTo>
                  <a:lnTo>
                    <a:pt x="27" y="69"/>
                  </a:lnTo>
                  <a:lnTo>
                    <a:pt x="48" y="45"/>
                  </a:lnTo>
                  <a:lnTo>
                    <a:pt x="74" y="24"/>
                  </a:lnTo>
                  <a:lnTo>
                    <a:pt x="100" y="12"/>
                  </a:lnTo>
                  <a:lnTo>
                    <a:pt x="128" y="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33" name="Group 44"/>
          <p:cNvGrpSpPr>
            <a:grpSpLocks noChangeAspect="1"/>
          </p:cNvGrpSpPr>
          <p:nvPr/>
        </p:nvGrpSpPr>
        <p:grpSpPr bwMode="auto">
          <a:xfrm>
            <a:off x="1346969" y="2665835"/>
            <a:ext cx="678054" cy="848116"/>
            <a:chOff x="2724" y="1968"/>
            <a:chExt cx="307" cy="384"/>
          </a:xfrm>
          <a:solidFill>
            <a:srgbClr val="4472C4"/>
          </a:solidFill>
        </p:grpSpPr>
        <p:sp>
          <p:nvSpPr>
            <p:cNvPr id="34" name="Freeform 46"/>
            <p:cNvSpPr>
              <a:spLocks/>
            </p:cNvSpPr>
            <p:nvPr/>
          </p:nvSpPr>
          <p:spPr bwMode="auto">
            <a:xfrm>
              <a:off x="2807" y="2128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2 h 115"/>
                <a:gd name="T8" fmla="*/ 1545 w 1555"/>
                <a:gd name="T9" fmla="*/ 24 h 115"/>
                <a:gd name="T10" fmla="*/ 1553 w 1555"/>
                <a:gd name="T11" fmla="*/ 40 h 115"/>
                <a:gd name="T12" fmla="*/ 1555 w 1555"/>
                <a:gd name="T13" fmla="*/ 58 h 115"/>
                <a:gd name="T14" fmla="*/ 1553 w 1555"/>
                <a:gd name="T15" fmla="*/ 75 h 115"/>
                <a:gd name="T16" fmla="*/ 1545 w 1555"/>
                <a:gd name="T17" fmla="*/ 92 h 115"/>
                <a:gd name="T18" fmla="*/ 1532 w 1555"/>
                <a:gd name="T19" fmla="*/ 104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4 h 115"/>
                <a:gd name="T30" fmla="*/ 11 w 1555"/>
                <a:gd name="T31" fmla="*/ 92 h 115"/>
                <a:gd name="T32" fmla="*/ 3 w 1555"/>
                <a:gd name="T33" fmla="*/ 75 h 115"/>
                <a:gd name="T34" fmla="*/ 0 w 1555"/>
                <a:gd name="T35" fmla="*/ 58 h 115"/>
                <a:gd name="T36" fmla="*/ 3 w 1555"/>
                <a:gd name="T37" fmla="*/ 40 h 115"/>
                <a:gd name="T38" fmla="*/ 11 w 1555"/>
                <a:gd name="T39" fmla="*/ 24 h 115"/>
                <a:gd name="T40" fmla="*/ 24 w 1555"/>
                <a:gd name="T41" fmla="*/ 12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5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5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47"/>
            <p:cNvSpPr>
              <a:spLocks/>
            </p:cNvSpPr>
            <p:nvPr/>
          </p:nvSpPr>
          <p:spPr bwMode="auto">
            <a:xfrm>
              <a:off x="2807" y="2077"/>
              <a:ext cx="77" cy="13"/>
            </a:xfrm>
            <a:custGeom>
              <a:avLst/>
              <a:gdLst>
                <a:gd name="T0" fmla="*/ 57 w 691"/>
                <a:gd name="T1" fmla="*/ 0 h 115"/>
                <a:gd name="T2" fmla="*/ 633 w 691"/>
                <a:gd name="T3" fmla="*/ 0 h 115"/>
                <a:gd name="T4" fmla="*/ 652 w 691"/>
                <a:gd name="T5" fmla="*/ 3 h 115"/>
                <a:gd name="T6" fmla="*/ 668 w 691"/>
                <a:gd name="T7" fmla="*/ 12 h 115"/>
                <a:gd name="T8" fmla="*/ 681 w 691"/>
                <a:gd name="T9" fmla="*/ 24 h 115"/>
                <a:gd name="T10" fmla="*/ 689 w 691"/>
                <a:gd name="T11" fmla="*/ 40 h 115"/>
                <a:gd name="T12" fmla="*/ 691 w 691"/>
                <a:gd name="T13" fmla="*/ 58 h 115"/>
                <a:gd name="T14" fmla="*/ 689 w 691"/>
                <a:gd name="T15" fmla="*/ 76 h 115"/>
                <a:gd name="T16" fmla="*/ 681 w 691"/>
                <a:gd name="T17" fmla="*/ 91 h 115"/>
                <a:gd name="T18" fmla="*/ 668 w 691"/>
                <a:gd name="T19" fmla="*/ 104 h 115"/>
                <a:gd name="T20" fmla="*/ 652 w 691"/>
                <a:gd name="T21" fmla="*/ 112 h 115"/>
                <a:gd name="T22" fmla="*/ 633 w 691"/>
                <a:gd name="T23" fmla="*/ 115 h 115"/>
                <a:gd name="T24" fmla="*/ 57 w 691"/>
                <a:gd name="T25" fmla="*/ 115 h 115"/>
                <a:gd name="T26" fmla="*/ 40 w 691"/>
                <a:gd name="T27" fmla="*/ 112 h 115"/>
                <a:gd name="T28" fmla="*/ 24 w 691"/>
                <a:gd name="T29" fmla="*/ 104 h 115"/>
                <a:gd name="T30" fmla="*/ 11 w 691"/>
                <a:gd name="T31" fmla="*/ 91 h 115"/>
                <a:gd name="T32" fmla="*/ 3 w 691"/>
                <a:gd name="T33" fmla="*/ 76 h 115"/>
                <a:gd name="T34" fmla="*/ 0 w 691"/>
                <a:gd name="T35" fmla="*/ 58 h 115"/>
                <a:gd name="T36" fmla="*/ 3 w 691"/>
                <a:gd name="T37" fmla="*/ 40 h 115"/>
                <a:gd name="T38" fmla="*/ 11 w 691"/>
                <a:gd name="T39" fmla="*/ 24 h 115"/>
                <a:gd name="T40" fmla="*/ 24 w 691"/>
                <a:gd name="T41" fmla="*/ 12 h 115"/>
                <a:gd name="T42" fmla="*/ 40 w 691"/>
                <a:gd name="T43" fmla="*/ 3 h 115"/>
                <a:gd name="T44" fmla="*/ 57 w 691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1" h="115">
                  <a:moveTo>
                    <a:pt x="57" y="0"/>
                  </a:moveTo>
                  <a:lnTo>
                    <a:pt x="633" y="0"/>
                  </a:lnTo>
                  <a:lnTo>
                    <a:pt x="652" y="3"/>
                  </a:lnTo>
                  <a:lnTo>
                    <a:pt x="668" y="12"/>
                  </a:lnTo>
                  <a:lnTo>
                    <a:pt x="681" y="24"/>
                  </a:lnTo>
                  <a:lnTo>
                    <a:pt x="689" y="40"/>
                  </a:lnTo>
                  <a:lnTo>
                    <a:pt x="691" y="58"/>
                  </a:lnTo>
                  <a:lnTo>
                    <a:pt x="689" y="76"/>
                  </a:lnTo>
                  <a:lnTo>
                    <a:pt x="681" y="91"/>
                  </a:lnTo>
                  <a:lnTo>
                    <a:pt x="668" y="104"/>
                  </a:lnTo>
                  <a:lnTo>
                    <a:pt x="652" y="112"/>
                  </a:lnTo>
                  <a:lnTo>
                    <a:pt x="633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1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8"/>
            <p:cNvSpPr>
              <a:spLocks/>
            </p:cNvSpPr>
            <p:nvPr/>
          </p:nvSpPr>
          <p:spPr bwMode="auto">
            <a:xfrm>
              <a:off x="2807" y="2179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3 h 115"/>
                <a:gd name="T10" fmla="*/ 1553 w 1555"/>
                <a:gd name="T11" fmla="*/ 40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40 h 115"/>
                <a:gd name="T38" fmla="*/ 11 w 1555"/>
                <a:gd name="T39" fmla="*/ 23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3"/>
                  </a:lnTo>
                  <a:lnTo>
                    <a:pt x="1553" y="40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49"/>
            <p:cNvSpPr>
              <a:spLocks/>
            </p:cNvSpPr>
            <p:nvPr/>
          </p:nvSpPr>
          <p:spPr bwMode="auto">
            <a:xfrm>
              <a:off x="2807" y="2230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4 h 115"/>
                <a:gd name="T10" fmla="*/ 1553 w 1555"/>
                <a:gd name="T11" fmla="*/ 39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39 h 115"/>
                <a:gd name="T38" fmla="*/ 11 w 1555"/>
                <a:gd name="T39" fmla="*/ 24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4"/>
                  </a:lnTo>
                  <a:lnTo>
                    <a:pt x="1553" y="39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50"/>
            <p:cNvSpPr>
              <a:spLocks/>
            </p:cNvSpPr>
            <p:nvPr/>
          </p:nvSpPr>
          <p:spPr bwMode="auto">
            <a:xfrm>
              <a:off x="2807" y="2282"/>
              <a:ext cx="173" cy="12"/>
            </a:xfrm>
            <a:custGeom>
              <a:avLst/>
              <a:gdLst>
                <a:gd name="T0" fmla="*/ 57 w 1555"/>
                <a:gd name="T1" fmla="*/ 0 h 116"/>
                <a:gd name="T2" fmla="*/ 1498 w 1555"/>
                <a:gd name="T3" fmla="*/ 0 h 116"/>
                <a:gd name="T4" fmla="*/ 1516 w 1555"/>
                <a:gd name="T5" fmla="*/ 4 h 116"/>
                <a:gd name="T6" fmla="*/ 1532 w 1555"/>
                <a:gd name="T7" fmla="*/ 12 h 116"/>
                <a:gd name="T8" fmla="*/ 1545 w 1555"/>
                <a:gd name="T9" fmla="*/ 24 h 116"/>
                <a:gd name="T10" fmla="*/ 1553 w 1555"/>
                <a:gd name="T11" fmla="*/ 40 h 116"/>
                <a:gd name="T12" fmla="*/ 1555 w 1555"/>
                <a:gd name="T13" fmla="*/ 58 h 116"/>
                <a:gd name="T14" fmla="*/ 1553 w 1555"/>
                <a:gd name="T15" fmla="*/ 76 h 116"/>
                <a:gd name="T16" fmla="*/ 1545 w 1555"/>
                <a:gd name="T17" fmla="*/ 92 h 116"/>
                <a:gd name="T18" fmla="*/ 1532 w 1555"/>
                <a:gd name="T19" fmla="*/ 104 h 116"/>
                <a:gd name="T20" fmla="*/ 1516 w 1555"/>
                <a:gd name="T21" fmla="*/ 112 h 116"/>
                <a:gd name="T22" fmla="*/ 1498 w 1555"/>
                <a:gd name="T23" fmla="*/ 116 h 116"/>
                <a:gd name="T24" fmla="*/ 57 w 1555"/>
                <a:gd name="T25" fmla="*/ 116 h 116"/>
                <a:gd name="T26" fmla="*/ 40 w 1555"/>
                <a:gd name="T27" fmla="*/ 112 h 116"/>
                <a:gd name="T28" fmla="*/ 24 w 1555"/>
                <a:gd name="T29" fmla="*/ 104 h 116"/>
                <a:gd name="T30" fmla="*/ 11 w 1555"/>
                <a:gd name="T31" fmla="*/ 92 h 116"/>
                <a:gd name="T32" fmla="*/ 3 w 1555"/>
                <a:gd name="T33" fmla="*/ 76 h 116"/>
                <a:gd name="T34" fmla="*/ 0 w 1555"/>
                <a:gd name="T35" fmla="*/ 58 h 116"/>
                <a:gd name="T36" fmla="*/ 3 w 1555"/>
                <a:gd name="T37" fmla="*/ 40 h 116"/>
                <a:gd name="T38" fmla="*/ 11 w 1555"/>
                <a:gd name="T39" fmla="*/ 24 h 116"/>
                <a:gd name="T40" fmla="*/ 24 w 1555"/>
                <a:gd name="T41" fmla="*/ 12 h 116"/>
                <a:gd name="T42" fmla="*/ 40 w 1555"/>
                <a:gd name="T43" fmla="*/ 4 h 116"/>
                <a:gd name="T44" fmla="*/ 57 w 1555"/>
                <a:gd name="T45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6">
                  <a:moveTo>
                    <a:pt x="57" y="0"/>
                  </a:moveTo>
                  <a:lnTo>
                    <a:pt x="1498" y="0"/>
                  </a:lnTo>
                  <a:lnTo>
                    <a:pt x="1516" y="4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6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6"/>
                  </a:lnTo>
                  <a:lnTo>
                    <a:pt x="57" y="116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4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51"/>
            <p:cNvSpPr>
              <a:spLocks noEditPoints="1"/>
            </p:cNvSpPr>
            <p:nvPr/>
          </p:nvSpPr>
          <p:spPr bwMode="auto">
            <a:xfrm>
              <a:off x="2724" y="1968"/>
              <a:ext cx="307" cy="384"/>
            </a:xfrm>
            <a:custGeom>
              <a:avLst/>
              <a:gdLst>
                <a:gd name="T0" fmla="*/ 1959 w 2765"/>
                <a:gd name="T1" fmla="*/ 485 h 3456"/>
                <a:gd name="T2" fmla="*/ 1959 w 2765"/>
                <a:gd name="T3" fmla="*/ 1094 h 3456"/>
                <a:gd name="T4" fmla="*/ 2569 w 2765"/>
                <a:gd name="T5" fmla="*/ 1094 h 3456"/>
                <a:gd name="T6" fmla="*/ 1959 w 2765"/>
                <a:gd name="T7" fmla="*/ 485 h 3456"/>
                <a:gd name="T8" fmla="*/ 404 w 2765"/>
                <a:gd name="T9" fmla="*/ 403 h 3456"/>
                <a:gd name="T10" fmla="*/ 404 w 2765"/>
                <a:gd name="T11" fmla="*/ 3341 h 3456"/>
                <a:gd name="T12" fmla="*/ 2650 w 2765"/>
                <a:gd name="T13" fmla="*/ 3341 h 3456"/>
                <a:gd name="T14" fmla="*/ 2650 w 2765"/>
                <a:gd name="T15" fmla="*/ 1210 h 3456"/>
                <a:gd name="T16" fmla="*/ 1844 w 2765"/>
                <a:gd name="T17" fmla="*/ 1210 h 3456"/>
                <a:gd name="T18" fmla="*/ 1844 w 2765"/>
                <a:gd name="T19" fmla="*/ 403 h 3456"/>
                <a:gd name="T20" fmla="*/ 404 w 2765"/>
                <a:gd name="T21" fmla="*/ 403 h 3456"/>
                <a:gd name="T22" fmla="*/ 116 w 2765"/>
                <a:gd name="T23" fmla="*/ 115 h 3456"/>
                <a:gd name="T24" fmla="*/ 116 w 2765"/>
                <a:gd name="T25" fmla="*/ 3053 h 3456"/>
                <a:gd name="T26" fmla="*/ 288 w 2765"/>
                <a:gd name="T27" fmla="*/ 3053 h 3456"/>
                <a:gd name="T28" fmla="*/ 288 w 2765"/>
                <a:gd name="T29" fmla="*/ 288 h 3456"/>
                <a:gd name="T30" fmla="*/ 1925 w 2765"/>
                <a:gd name="T31" fmla="*/ 288 h 3456"/>
                <a:gd name="T32" fmla="*/ 2362 w 2765"/>
                <a:gd name="T33" fmla="*/ 725 h 3456"/>
                <a:gd name="T34" fmla="*/ 2362 w 2765"/>
                <a:gd name="T35" fmla="*/ 115 h 3456"/>
                <a:gd name="T36" fmla="*/ 116 w 2765"/>
                <a:gd name="T37" fmla="*/ 115 h 3456"/>
                <a:gd name="T38" fmla="*/ 0 w 2765"/>
                <a:gd name="T39" fmla="*/ 0 h 3456"/>
                <a:gd name="T40" fmla="*/ 2477 w 2765"/>
                <a:gd name="T41" fmla="*/ 0 h 3456"/>
                <a:gd name="T42" fmla="*/ 2477 w 2765"/>
                <a:gd name="T43" fmla="*/ 840 h 3456"/>
                <a:gd name="T44" fmla="*/ 2765 w 2765"/>
                <a:gd name="T45" fmla="*/ 1128 h 3456"/>
                <a:gd name="T46" fmla="*/ 2765 w 2765"/>
                <a:gd name="T47" fmla="*/ 3456 h 3456"/>
                <a:gd name="T48" fmla="*/ 288 w 2765"/>
                <a:gd name="T49" fmla="*/ 3456 h 3456"/>
                <a:gd name="T50" fmla="*/ 288 w 2765"/>
                <a:gd name="T51" fmla="*/ 3168 h 3456"/>
                <a:gd name="T52" fmla="*/ 0 w 2765"/>
                <a:gd name="T53" fmla="*/ 3168 h 3456"/>
                <a:gd name="T54" fmla="*/ 0 w 2765"/>
                <a:gd name="T55" fmla="*/ 0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65" h="3456">
                  <a:moveTo>
                    <a:pt x="1959" y="485"/>
                  </a:moveTo>
                  <a:lnTo>
                    <a:pt x="1959" y="1094"/>
                  </a:lnTo>
                  <a:lnTo>
                    <a:pt x="2569" y="1094"/>
                  </a:lnTo>
                  <a:lnTo>
                    <a:pt x="1959" y="485"/>
                  </a:lnTo>
                  <a:close/>
                  <a:moveTo>
                    <a:pt x="404" y="403"/>
                  </a:moveTo>
                  <a:lnTo>
                    <a:pt x="404" y="3341"/>
                  </a:lnTo>
                  <a:lnTo>
                    <a:pt x="2650" y="3341"/>
                  </a:lnTo>
                  <a:lnTo>
                    <a:pt x="2650" y="1210"/>
                  </a:lnTo>
                  <a:lnTo>
                    <a:pt x="1844" y="1210"/>
                  </a:lnTo>
                  <a:lnTo>
                    <a:pt x="1844" y="403"/>
                  </a:lnTo>
                  <a:lnTo>
                    <a:pt x="404" y="403"/>
                  </a:lnTo>
                  <a:close/>
                  <a:moveTo>
                    <a:pt x="116" y="115"/>
                  </a:moveTo>
                  <a:lnTo>
                    <a:pt x="116" y="3053"/>
                  </a:lnTo>
                  <a:lnTo>
                    <a:pt x="288" y="3053"/>
                  </a:lnTo>
                  <a:lnTo>
                    <a:pt x="288" y="288"/>
                  </a:lnTo>
                  <a:lnTo>
                    <a:pt x="1925" y="288"/>
                  </a:lnTo>
                  <a:lnTo>
                    <a:pt x="2362" y="725"/>
                  </a:lnTo>
                  <a:lnTo>
                    <a:pt x="2362" y="115"/>
                  </a:lnTo>
                  <a:lnTo>
                    <a:pt x="116" y="115"/>
                  </a:lnTo>
                  <a:close/>
                  <a:moveTo>
                    <a:pt x="0" y="0"/>
                  </a:moveTo>
                  <a:lnTo>
                    <a:pt x="2477" y="0"/>
                  </a:lnTo>
                  <a:lnTo>
                    <a:pt x="2477" y="840"/>
                  </a:lnTo>
                  <a:lnTo>
                    <a:pt x="2765" y="1128"/>
                  </a:lnTo>
                  <a:lnTo>
                    <a:pt x="2765" y="3456"/>
                  </a:lnTo>
                  <a:lnTo>
                    <a:pt x="288" y="3456"/>
                  </a:lnTo>
                  <a:lnTo>
                    <a:pt x="288" y="3168"/>
                  </a:lnTo>
                  <a:lnTo>
                    <a:pt x="0" y="316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/>
          <p:cNvGrpSpPr>
            <a:grpSpLocks noChangeAspect="1"/>
          </p:cNvGrpSpPr>
          <p:nvPr/>
        </p:nvGrpSpPr>
        <p:grpSpPr bwMode="auto">
          <a:xfrm>
            <a:off x="7051329" y="2644797"/>
            <a:ext cx="804274" cy="861290"/>
            <a:chOff x="1586" y="519"/>
            <a:chExt cx="3061" cy="3278"/>
          </a:xfrm>
          <a:solidFill>
            <a:schemeClr val="accent5"/>
          </a:solidFill>
        </p:grpSpPr>
        <p:sp>
          <p:nvSpPr>
            <p:cNvPr id="41" name="Freeform 6"/>
            <p:cNvSpPr>
              <a:spLocks/>
            </p:cNvSpPr>
            <p:nvPr/>
          </p:nvSpPr>
          <p:spPr bwMode="auto">
            <a:xfrm>
              <a:off x="3445" y="2485"/>
              <a:ext cx="437" cy="110"/>
            </a:xfrm>
            <a:custGeom>
              <a:avLst/>
              <a:gdLst>
                <a:gd name="T0" fmla="*/ 110 w 876"/>
                <a:gd name="T1" fmla="*/ 0 h 219"/>
                <a:gd name="T2" fmla="*/ 766 w 876"/>
                <a:gd name="T3" fmla="*/ 0 h 219"/>
                <a:gd name="T4" fmla="*/ 800 w 876"/>
                <a:gd name="T5" fmla="*/ 6 h 219"/>
                <a:gd name="T6" fmla="*/ 830 w 876"/>
                <a:gd name="T7" fmla="*/ 22 h 219"/>
                <a:gd name="T8" fmla="*/ 854 w 876"/>
                <a:gd name="T9" fmla="*/ 46 h 219"/>
                <a:gd name="T10" fmla="*/ 870 w 876"/>
                <a:gd name="T11" fmla="*/ 76 h 219"/>
                <a:gd name="T12" fmla="*/ 876 w 876"/>
                <a:gd name="T13" fmla="*/ 109 h 219"/>
                <a:gd name="T14" fmla="*/ 870 w 876"/>
                <a:gd name="T15" fmla="*/ 145 h 219"/>
                <a:gd name="T16" fmla="*/ 854 w 876"/>
                <a:gd name="T17" fmla="*/ 175 h 219"/>
                <a:gd name="T18" fmla="*/ 830 w 876"/>
                <a:gd name="T19" fmla="*/ 199 h 219"/>
                <a:gd name="T20" fmla="*/ 800 w 876"/>
                <a:gd name="T21" fmla="*/ 213 h 219"/>
                <a:gd name="T22" fmla="*/ 766 w 876"/>
                <a:gd name="T23" fmla="*/ 219 h 219"/>
                <a:gd name="T24" fmla="*/ 110 w 876"/>
                <a:gd name="T25" fmla="*/ 219 h 219"/>
                <a:gd name="T26" fmla="*/ 76 w 876"/>
                <a:gd name="T27" fmla="*/ 213 h 219"/>
                <a:gd name="T28" fmla="*/ 44 w 876"/>
                <a:gd name="T29" fmla="*/ 199 h 219"/>
                <a:gd name="T30" fmla="*/ 22 w 876"/>
                <a:gd name="T31" fmla="*/ 175 h 219"/>
                <a:gd name="T32" fmla="*/ 6 w 876"/>
                <a:gd name="T33" fmla="*/ 145 h 219"/>
                <a:gd name="T34" fmla="*/ 0 w 876"/>
                <a:gd name="T35" fmla="*/ 109 h 219"/>
                <a:gd name="T36" fmla="*/ 6 w 876"/>
                <a:gd name="T37" fmla="*/ 76 h 219"/>
                <a:gd name="T38" fmla="*/ 22 w 876"/>
                <a:gd name="T39" fmla="*/ 46 h 219"/>
                <a:gd name="T40" fmla="*/ 44 w 876"/>
                <a:gd name="T41" fmla="*/ 22 h 219"/>
                <a:gd name="T42" fmla="*/ 76 w 876"/>
                <a:gd name="T43" fmla="*/ 6 h 219"/>
                <a:gd name="T44" fmla="*/ 110 w 876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6" h="219">
                  <a:moveTo>
                    <a:pt x="110" y="0"/>
                  </a:moveTo>
                  <a:lnTo>
                    <a:pt x="766" y="0"/>
                  </a:lnTo>
                  <a:lnTo>
                    <a:pt x="800" y="6"/>
                  </a:lnTo>
                  <a:lnTo>
                    <a:pt x="830" y="22"/>
                  </a:lnTo>
                  <a:lnTo>
                    <a:pt x="854" y="46"/>
                  </a:lnTo>
                  <a:lnTo>
                    <a:pt x="870" y="76"/>
                  </a:lnTo>
                  <a:lnTo>
                    <a:pt x="876" y="109"/>
                  </a:lnTo>
                  <a:lnTo>
                    <a:pt x="870" y="145"/>
                  </a:lnTo>
                  <a:lnTo>
                    <a:pt x="854" y="175"/>
                  </a:lnTo>
                  <a:lnTo>
                    <a:pt x="830" y="199"/>
                  </a:lnTo>
                  <a:lnTo>
                    <a:pt x="800" y="213"/>
                  </a:lnTo>
                  <a:lnTo>
                    <a:pt x="766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4" y="199"/>
                  </a:lnTo>
                  <a:lnTo>
                    <a:pt x="22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4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7"/>
            <p:cNvSpPr>
              <a:spLocks/>
            </p:cNvSpPr>
            <p:nvPr/>
          </p:nvSpPr>
          <p:spPr bwMode="auto">
            <a:xfrm>
              <a:off x="3554" y="792"/>
              <a:ext cx="875" cy="1693"/>
            </a:xfrm>
            <a:custGeom>
              <a:avLst/>
              <a:gdLst>
                <a:gd name="T0" fmla="*/ 108 w 1749"/>
                <a:gd name="T1" fmla="*/ 0 h 3387"/>
                <a:gd name="T2" fmla="*/ 144 w 1749"/>
                <a:gd name="T3" fmla="*/ 6 h 3387"/>
                <a:gd name="T4" fmla="*/ 174 w 1749"/>
                <a:gd name="T5" fmla="*/ 22 h 3387"/>
                <a:gd name="T6" fmla="*/ 198 w 1749"/>
                <a:gd name="T7" fmla="*/ 46 h 3387"/>
                <a:gd name="T8" fmla="*/ 212 w 1749"/>
                <a:gd name="T9" fmla="*/ 76 h 3387"/>
                <a:gd name="T10" fmla="*/ 218 w 1749"/>
                <a:gd name="T11" fmla="*/ 110 h 3387"/>
                <a:gd name="T12" fmla="*/ 218 w 1749"/>
                <a:gd name="T13" fmla="*/ 656 h 3387"/>
                <a:gd name="T14" fmla="*/ 224 w 1749"/>
                <a:gd name="T15" fmla="*/ 716 h 3387"/>
                <a:gd name="T16" fmla="*/ 240 w 1749"/>
                <a:gd name="T17" fmla="*/ 770 h 3387"/>
                <a:gd name="T18" fmla="*/ 264 w 1749"/>
                <a:gd name="T19" fmla="*/ 821 h 3387"/>
                <a:gd name="T20" fmla="*/ 296 w 1749"/>
                <a:gd name="T21" fmla="*/ 867 h 3387"/>
                <a:gd name="T22" fmla="*/ 335 w 1749"/>
                <a:gd name="T23" fmla="*/ 907 h 3387"/>
                <a:gd name="T24" fmla="*/ 381 w 1749"/>
                <a:gd name="T25" fmla="*/ 939 h 3387"/>
                <a:gd name="T26" fmla="*/ 431 w 1749"/>
                <a:gd name="T27" fmla="*/ 963 h 3387"/>
                <a:gd name="T28" fmla="*/ 487 w 1749"/>
                <a:gd name="T29" fmla="*/ 979 h 3387"/>
                <a:gd name="T30" fmla="*/ 547 w 1749"/>
                <a:gd name="T31" fmla="*/ 985 h 3387"/>
                <a:gd name="T32" fmla="*/ 1640 w 1749"/>
                <a:gd name="T33" fmla="*/ 985 h 3387"/>
                <a:gd name="T34" fmla="*/ 1674 w 1749"/>
                <a:gd name="T35" fmla="*/ 989 h 3387"/>
                <a:gd name="T36" fmla="*/ 1703 w 1749"/>
                <a:gd name="T37" fmla="*/ 1005 h 3387"/>
                <a:gd name="T38" fmla="*/ 1727 w 1749"/>
                <a:gd name="T39" fmla="*/ 1029 h 3387"/>
                <a:gd name="T40" fmla="*/ 1743 w 1749"/>
                <a:gd name="T41" fmla="*/ 1059 h 3387"/>
                <a:gd name="T42" fmla="*/ 1749 w 1749"/>
                <a:gd name="T43" fmla="*/ 1092 h 3387"/>
                <a:gd name="T44" fmla="*/ 1749 w 1749"/>
                <a:gd name="T45" fmla="*/ 3279 h 3387"/>
                <a:gd name="T46" fmla="*/ 1743 w 1749"/>
                <a:gd name="T47" fmla="*/ 3313 h 3387"/>
                <a:gd name="T48" fmla="*/ 1727 w 1749"/>
                <a:gd name="T49" fmla="*/ 3343 h 3387"/>
                <a:gd name="T50" fmla="*/ 1703 w 1749"/>
                <a:gd name="T51" fmla="*/ 3367 h 3387"/>
                <a:gd name="T52" fmla="*/ 1674 w 1749"/>
                <a:gd name="T53" fmla="*/ 3383 h 3387"/>
                <a:gd name="T54" fmla="*/ 1640 w 1749"/>
                <a:gd name="T55" fmla="*/ 3387 h 3387"/>
                <a:gd name="T56" fmla="*/ 1606 w 1749"/>
                <a:gd name="T57" fmla="*/ 3383 h 3387"/>
                <a:gd name="T58" fmla="*/ 1574 w 1749"/>
                <a:gd name="T59" fmla="*/ 3367 h 3387"/>
                <a:gd name="T60" fmla="*/ 1552 w 1749"/>
                <a:gd name="T61" fmla="*/ 3343 h 3387"/>
                <a:gd name="T62" fmla="*/ 1536 w 1749"/>
                <a:gd name="T63" fmla="*/ 3313 h 3387"/>
                <a:gd name="T64" fmla="*/ 1530 w 1749"/>
                <a:gd name="T65" fmla="*/ 3279 h 3387"/>
                <a:gd name="T66" fmla="*/ 1530 w 1749"/>
                <a:gd name="T67" fmla="*/ 1202 h 3387"/>
                <a:gd name="T68" fmla="*/ 547 w 1749"/>
                <a:gd name="T69" fmla="*/ 1202 h 3387"/>
                <a:gd name="T70" fmla="*/ 465 w 1749"/>
                <a:gd name="T71" fmla="*/ 1196 h 3387"/>
                <a:gd name="T72" fmla="*/ 389 w 1749"/>
                <a:gd name="T73" fmla="*/ 1180 h 3387"/>
                <a:gd name="T74" fmla="*/ 316 w 1749"/>
                <a:gd name="T75" fmla="*/ 1152 h 3387"/>
                <a:gd name="T76" fmla="*/ 250 w 1749"/>
                <a:gd name="T77" fmla="*/ 1114 h 3387"/>
                <a:gd name="T78" fmla="*/ 188 w 1749"/>
                <a:gd name="T79" fmla="*/ 1069 h 3387"/>
                <a:gd name="T80" fmla="*/ 134 w 1749"/>
                <a:gd name="T81" fmla="*/ 1015 h 3387"/>
                <a:gd name="T82" fmla="*/ 88 w 1749"/>
                <a:gd name="T83" fmla="*/ 953 h 3387"/>
                <a:gd name="T84" fmla="*/ 50 w 1749"/>
                <a:gd name="T85" fmla="*/ 887 h 3387"/>
                <a:gd name="T86" fmla="*/ 22 w 1749"/>
                <a:gd name="T87" fmla="*/ 813 h 3387"/>
                <a:gd name="T88" fmla="*/ 6 w 1749"/>
                <a:gd name="T89" fmla="*/ 738 h 3387"/>
                <a:gd name="T90" fmla="*/ 0 w 1749"/>
                <a:gd name="T91" fmla="*/ 656 h 3387"/>
                <a:gd name="T92" fmla="*/ 0 w 1749"/>
                <a:gd name="T93" fmla="*/ 110 h 3387"/>
                <a:gd name="T94" fmla="*/ 4 w 1749"/>
                <a:gd name="T95" fmla="*/ 76 h 3387"/>
                <a:gd name="T96" fmla="*/ 20 w 1749"/>
                <a:gd name="T97" fmla="*/ 46 h 3387"/>
                <a:gd name="T98" fmla="*/ 44 w 1749"/>
                <a:gd name="T99" fmla="*/ 22 h 3387"/>
                <a:gd name="T100" fmla="*/ 74 w 1749"/>
                <a:gd name="T101" fmla="*/ 6 h 3387"/>
                <a:gd name="T102" fmla="*/ 108 w 1749"/>
                <a:gd name="T103" fmla="*/ 0 h 3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49" h="3387">
                  <a:moveTo>
                    <a:pt x="108" y="0"/>
                  </a:moveTo>
                  <a:lnTo>
                    <a:pt x="144" y="6"/>
                  </a:lnTo>
                  <a:lnTo>
                    <a:pt x="174" y="22"/>
                  </a:lnTo>
                  <a:lnTo>
                    <a:pt x="198" y="46"/>
                  </a:lnTo>
                  <a:lnTo>
                    <a:pt x="212" y="76"/>
                  </a:lnTo>
                  <a:lnTo>
                    <a:pt x="218" y="110"/>
                  </a:lnTo>
                  <a:lnTo>
                    <a:pt x="218" y="656"/>
                  </a:lnTo>
                  <a:lnTo>
                    <a:pt x="224" y="716"/>
                  </a:lnTo>
                  <a:lnTo>
                    <a:pt x="240" y="770"/>
                  </a:lnTo>
                  <a:lnTo>
                    <a:pt x="264" y="821"/>
                  </a:lnTo>
                  <a:lnTo>
                    <a:pt x="296" y="867"/>
                  </a:lnTo>
                  <a:lnTo>
                    <a:pt x="335" y="907"/>
                  </a:lnTo>
                  <a:lnTo>
                    <a:pt x="381" y="939"/>
                  </a:lnTo>
                  <a:lnTo>
                    <a:pt x="431" y="963"/>
                  </a:lnTo>
                  <a:lnTo>
                    <a:pt x="487" y="979"/>
                  </a:lnTo>
                  <a:lnTo>
                    <a:pt x="547" y="985"/>
                  </a:lnTo>
                  <a:lnTo>
                    <a:pt x="1640" y="985"/>
                  </a:lnTo>
                  <a:lnTo>
                    <a:pt x="1674" y="989"/>
                  </a:lnTo>
                  <a:lnTo>
                    <a:pt x="1703" y="1005"/>
                  </a:lnTo>
                  <a:lnTo>
                    <a:pt x="1727" y="1029"/>
                  </a:lnTo>
                  <a:lnTo>
                    <a:pt x="1743" y="1059"/>
                  </a:lnTo>
                  <a:lnTo>
                    <a:pt x="1749" y="1092"/>
                  </a:lnTo>
                  <a:lnTo>
                    <a:pt x="1749" y="3279"/>
                  </a:lnTo>
                  <a:lnTo>
                    <a:pt x="1743" y="3313"/>
                  </a:lnTo>
                  <a:lnTo>
                    <a:pt x="1727" y="3343"/>
                  </a:lnTo>
                  <a:lnTo>
                    <a:pt x="1703" y="3367"/>
                  </a:lnTo>
                  <a:lnTo>
                    <a:pt x="1674" y="3383"/>
                  </a:lnTo>
                  <a:lnTo>
                    <a:pt x="1640" y="3387"/>
                  </a:lnTo>
                  <a:lnTo>
                    <a:pt x="1606" y="3383"/>
                  </a:lnTo>
                  <a:lnTo>
                    <a:pt x="1574" y="3367"/>
                  </a:lnTo>
                  <a:lnTo>
                    <a:pt x="1552" y="3343"/>
                  </a:lnTo>
                  <a:lnTo>
                    <a:pt x="1536" y="3313"/>
                  </a:lnTo>
                  <a:lnTo>
                    <a:pt x="1530" y="3279"/>
                  </a:lnTo>
                  <a:lnTo>
                    <a:pt x="1530" y="1202"/>
                  </a:lnTo>
                  <a:lnTo>
                    <a:pt x="547" y="1202"/>
                  </a:lnTo>
                  <a:lnTo>
                    <a:pt x="465" y="1196"/>
                  </a:lnTo>
                  <a:lnTo>
                    <a:pt x="389" y="1180"/>
                  </a:lnTo>
                  <a:lnTo>
                    <a:pt x="316" y="1152"/>
                  </a:lnTo>
                  <a:lnTo>
                    <a:pt x="250" y="1114"/>
                  </a:lnTo>
                  <a:lnTo>
                    <a:pt x="188" y="1069"/>
                  </a:lnTo>
                  <a:lnTo>
                    <a:pt x="134" y="1015"/>
                  </a:lnTo>
                  <a:lnTo>
                    <a:pt x="88" y="953"/>
                  </a:lnTo>
                  <a:lnTo>
                    <a:pt x="50" y="887"/>
                  </a:lnTo>
                  <a:lnTo>
                    <a:pt x="22" y="813"/>
                  </a:lnTo>
                  <a:lnTo>
                    <a:pt x="6" y="738"/>
                  </a:lnTo>
                  <a:lnTo>
                    <a:pt x="0" y="656"/>
                  </a:lnTo>
                  <a:lnTo>
                    <a:pt x="0" y="110"/>
                  </a:lnTo>
                  <a:lnTo>
                    <a:pt x="4" y="76"/>
                  </a:lnTo>
                  <a:lnTo>
                    <a:pt x="20" y="46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8"/>
            <p:cNvSpPr>
              <a:spLocks/>
            </p:cNvSpPr>
            <p:nvPr/>
          </p:nvSpPr>
          <p:spPr bwMode="auto">
            <a:xfrm>
              <a:off x="3335" y="1831"/>
              <a:ext cx="547" cy="108"/>
            </a:xfrm>
            <a:custGeom>
              <a:avLst/>
              <a:gdLst>
                <a:gd name="T0" fmla="*/ 109 w 1095"/>
                <a:gd name="T1" fmla="*/ 0 h 217"/>
                <a:gd name="T2" fmla="*/ 985 w 1095"/>
                <a:gd name="T3" fmla="*/ 0 h 217"/>
                <a:gd name="T4" fmla="*/ 1019 w 1095"/>
                <a:gd name="T5" fmla="*/ 6 h 217"/>
                <a:gd name="T6" fmla="*/ 1049 w 1095"/>
                <a:gd name="T7" fmla="*/ 20 h 217"/>
                <a:gd name="T8" fmla="*/ 1073 w 1095"/>
                <a:gd name="T9" fmla="*/ 44 h 217"/>
                <a:gd name="T10" fmla="*/ 1089 w 1095"/>
                <a:gd name="T11" fmla="*/ 74 h 217"/>
                <a:gd name="T12" fmla="*/ 1095 w 1095"/>
                <a:gd name="T13" fmla="*/ 110 h 217"/>
                <a:gd name="T14" fmla="*/ 1089 w 1095"/>
                <a:gd name="T15" fmla="*/ 144 h 217"/>
                <a:gd name="T16" fmla="*/ 1073 w 1095"/>
                <a:gd name="T17" fmla="*/ 174 h 217"/>
                <a:gd name="T18" fmla="*/ 1049 w 1095"/>
                <a:gd name="T19" fmla="*/ 198 h 217"/>
                <a:gd name="T20" fmla="*/ 1019 w 1095"/>
                <a:gd name="T21" fmla="*/ 213 h 217"/>
                <a:gd name="T22" fmla="*/ 985 w 1095"/>
                <a:gd name="T23" fmla="*/ 217 h 217"/>
                <a:gd name="T24" fmla="*/ 109 w 1095"/>
                <a:gd name="T25" fmla="*/ 217 h 217"/>
                <a:gd name="T26" fmla="*/ 76 w 1095"/>
                <a:gd name="T27" fmla="*/ 213 h 217"/>
                <a:gd name="T28" fmla="*/ 46 w 1095"/>
                <a:gd name="T29" fmla="*/ 198 h 217"/>
                <a:gd name="T30" fmla="*/ 22 w 1095"/>
                <a:gd name="T31" fmla="*/ 174 h 217"/>
                <a:gd name="T32" fmla="*/ 6 w 1095"/>
                <a:gd name="T33" fmla="*/ 144 h 217"/>
                <a:gd name="T34" fmla="*/ 0 w 1095"/>
                <a:gd name="T35" fmla="*/ 110 h 217"/>
                <a:gd name="T36" fmla="*/ 6 w 1095"/>
                <a:gd name="T37" fmla="*/ 74 h 217"/>
                <a:gd name="T38" fmla="*/ 22 w 1095"/>
                <a:gd name="T39" fmla="*/ 44 h 217"/>
                <a:gd name="T40" fmla="*/ 46 w 1095"/>
                <a:gd name="T41" fmla="*/ 20 h 217"/>
                <a:gd name="T42" fmla="*/ 76 w 1095"/>
                <a:gd name="T43" fmla="*/ 6 h 217"/>
                <a:gd name="T44" fmla="*/ 109 w 1095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5" h="217">
                  <a:moveTo>
                    <a:pt x="109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0"/>
                  </a:lnTo>
                  <a:lnTo>
                    <a:pt x="1073" y="44"/>
                  </a:lnTo>
                  <a:lnTo>
                    <a:pt x="1089" y="74"/>
                  </a:lnTo>
                  <a:lnTo>
                    <a:pt x="1095" y="110"/>
                  </a:lnTo>
                  <a:lnTo>
                    <a:pt x="1089" y="144"/>
                  </a:lnTo>
                  <a:lnTo>
                    <a:pt x="1073" y="174"/>
                  </a:lnTo>
                  <a:lnTo>
                    <a:pt x="1049" y="198"/>
                  </a:lnTo>
                  <a:lnTo>
                    <a:pt x="1019" y="213"/>
                  </a:lnTo>
                  <a:lnTo>
                    <a:pt x="985" y="217"/>
                  </a:lnTo>
                  <a:lnTo>
                    <a:pt x="109" y="217"/>
                  </a:lnTo>
                  <a:lnTo>
                    <a:pt x="76" y="213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9"/>
            <p:cNvSpPr>
              <a:spLocks/>
            </p:cNvSpPr>
            <p:nvPr/>
          </p:nvSpPr>
          <p:spPr bwMode="auto">
            <a:xfrm>
              <a:off x="2788" y="1831"/>
              <a:ext cx="438" cy="108"/>
            </a:xfrm>
            <a:custGeom>
              <a:avLst/>
              <a:gdLst>
                <a:gd name="T0" fmla="*/ 110 w 875"/>
                <a:gd name="T1" fmla="*/ 0 h 217"/>
                <a:gd name="T2" fmla="*/ 766 w 875"/>
                <a:gd name="T3" fmla="*/ 0 h 217"/>
                <a:gd name="T4" fmla="*/ 800 w 875"/>
                <a:gd name="T5" fmla="*/ 6 h 217"/>
                <a:gd name="T6" fmla="*/ 830 w 875"/>
                <a:gd name="T7" fmla="*/ 20 h 217"/>
                <a:gd name="T8" fmla="*/ 853 w 875"/>
                <a:gd name="T9" fmla="*/ 44 h 217"/>
                <a:gd name="T10" fmla="*/ 869 w 875"/>
                <a:gd name="T11" fmla="*/ 74 h 217"/>
                <a:gd name="T12" fmla="*/ 875 w 875"/>
                <a:gd name="T13" fmla="*/ 110 h 217"/>
                <a:gd name="T14" fmla="*/ 869 w 875"/>
                <a:gd name="T15" fmla="*/ 144 h 217"/>
                <a:gd name="T16" fmla="*/ 853 w 875"/>
                <a:gd name="T17" fmla="*/ 174 h 217"/>
                <a:gd name="T18" fmla="*/ 830 w 875"/>
                <a:gd name="T19" fmla="*/ 198 h 217"/>
                <a:gd name="T20" fmla="*/ 800 w 875"/>
                <a:gd name="T21" fmla="*/ 213 h 217"/>
                <a:gd name="T22" fmla="*/ 766 w 875"/>
                <a:gd name="T23" fmla="*/ 217 h 217"/>
                <a:gd name="T24" fmla="*/ 110 w 875"/>
                <a:gd name="T25" fmla="*/ 217 h 217"/>
                <a:gd name="T26" fmla="*/ 76 w 875"/>
                <a:gd name="T27" fmla="*/ 213 h 217"/>
                <a:gd name="T28" fmla="*/ 46 w 875"/>
                <a:gd name="T29" fmla="*/ 198 h 217"/>
                <a:gd name="T30" fmla="*/ 22 w 875"/>
                <a:gd name="T31" fmla="*/ 174 h 217"/>
                <a:gd name="T32" fmla="*/ 6 w 875"/>
                <a:gd name="T33" fmla="*/ 144 h 217"/>
                <a:gd name="T34" fmla="*/ 0 w 875"/>
                <a:gd name="T35" fmla="*/ 110 h 217"/>
                <a:gd name="T36" fmla="*/ 6 w 875"/>
                <a:gd name="T37" fmla="*/ 74 h 217"/>
                <a:gd name="T38" fmla="*/ 22 w 875"/>
                <a:gd name="T39" fmla="*/ 44 h 217"/>
                <a:gd name="T40" fmla="*/ 46 w 875"/>
                <a:gd name="T41" fmla="*/ 20 h 217"/>
                <a:gd name="T42" fmla="*/ 76 w 875"/>
                <a:gd name="T43" fmla="*/ 6 h 217"/>
                <a:gd name="T44" fmla="*/ 110 w 875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5" h="217">
                  <a:moveTo>
                    <a:pt x="110" y="0"/>
                  </a:moveTo>
                  <a:lnTo>
                    <a:pt x="766" y="0"/>
                  </a:lnTo>
                  <a:lnTo>
                    <a:pt x="800" y="6"/>
                  </a:lnTo>
                  <a:lnTo>
                    <a:pt x="830" y="20"/>
                  </a:lnTo>
                  <a:lnTo>
                    <a:pt x="853" y="44"/>
                  </a:lnTo>
                  <a:lnTo>
                    <a:pt x="869" y="74"/>
                  </a:lnTo>
                  <a:lnTo>
                    <a:pt x="875" y="110"/>
                  </a:lnTo>
                  <a:lnTo>
                    <a:pt x="869" y="144"/>
                  </a:lnTo>
                  <a:lnTo>
                    <a:pt x="853" y="174"/>
                  </a:lnTo>
                  <a:lnTo>
                    <a:pt x="830" y="198"/>
                  </a:lnTo>
                  <a:lnTo>
                    <a:pt x="800" y="213"/>
                  </a:lnTo>
                  <a:lnTo>
                    <a:pt x="766" y="217"/>
                  </a:lnTo>
                  <a:lnTo>
                    <a:pt x="110" y="217"/>
                  </a:lnTo>
                  <a:lnTo>
                    <a:pt x="76" y="213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0"/>
            <p:cNvSpPr>
              <a:spLocks/>
            </p:cNvSpPr>
            <p:nvPr/>
          </p:nvSpPr>
          <p:spPr bwMode="auto">
            <a:xfrm>
              <a:off x="2788" y="2159"/>
              <a:ext cx="220" cy="108"/>
            </a:xfrm>
            <a:custGeom>
              <a:avLst/>
              <a:gdLst>
                <a:gd name="T0" fmla="*/ 110 w 439"/>
                <a:gd name="T1" fmla="*/ 0 h 217"/>
                <a:gd name="T2" fmla="*/ 329 w 439"/>
                <a:gd name="T3" fmla="*/ 0 h 217"/>
                <a:gd name="T4" fmla="*/ 363 w 439"/>
                <a:gd name="T5" fmla="*/ 4 h 217"/>
                <a:gd name="T6" fmla="*/ 393 w 439"/>
                <a:gd name="T7" fmla="*/ 20 h 217"/>
                <a:gd name="T8" fmla="*/ 417 w 439"/>
                <a:gd name="T9" fmla="*/ 44 h 217"/>
                <a:gd name="T10" fmla="*/ 433 w 439"/>
                <a:gd name="T11" fmla="*/ 74 h 217"/>
                <a:gd name="T12" fmla="*/ 439 w 439"/>
                <a:gd name="T13" fmla="*/ 108 h 217"/>
                <a:gd name="T14" fmla="*/ 433 w 439"/>
                <a:gd name="T15" fmla="*/ 144 h 217"/>
                <a:gd name="T16" fmla="*/ 417 w 439"/>
                <a:gd name="T17" fmla="*/ 173 h 217"/>
                <a:gd name="T18" fmla="*/ 393 w 439"/>
                <a:gd name="T19" fmla="*/ 197 h 217"/>
                <a:gd name="T20" fmla="*/ 363 w 439"/>
                <a:gd name="T21" fmla="*/ 211 h 217"/>
                <a:gd name="T22" fmla="*/ 329 w 439"/>
                <a:gd name="T23" fmla="*/ 217 h 217"/>
                <a:gd name="T24" fmla="*/ 110 w 439"/>
                <a:gd name="T25" fmla="*/ 217 h 217"/>
                <a:gd name="T26" fmla="*/ 76 w 439"/>
                <a:gd name="T27" fmla="*/ 211 h 217"/>
                <a:gd name="T28" fmla="*/ 46 w 439"/>
                <a:gd name="T29" fmla="*/ 197 h 217"/>
                <a:gd name="T30" fmla="*/ 22 w 439"/>
                <a:gd name="T31" fmla="*/ 173 h 217"/>
                <a:gd name="T32" fmla="*/ 6 w 439"/>
                <a:gd name="T33" fmla="*/ 144 h 217"/>
                <a:gd name="T34" fmla="*/ 0 w 439"/>
                <a:gd name="T35" fmla="*/ 108 h 217"/>
                <a:gd name="T36" fmla="*/ 6 w 439"/>
                <a:gd name="T37" fmla="*/ 74 h 217"/>
                <a:gd name="T38" fmla="*/ 22 w 439"/>
                <a:gd name="T39" fmla="*/ 44 h 217"/>
                <a:gd name="T40" fmla="*/ 46 w 439"/>
                <a:gd name="T41" fmla="*/ 20 h 217"/>
                <a:gd name="T42" fmla="*/ 76 w 439"/>
                <a:gd name="T43" fmla="*/ 4 h 217"/>
                <a:gd name="T44" fmla="*/ 110 w 439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9" h="217">
                  <a:moveTo>
                    <a:pt x="110" y="0"/>
                  </a:moveTo>
                  <a:lnTo>
                    <a:pt x="329" y="0"/>
                  </a:lnTo>
                  <a:lnTo>
                    <a:pt x="363" y="4"/>
                  </a:lnTo>
                  <a:lnTo>
                    <a:pt x="393" y="20"/>
                  </a:lnTo>
                  <a:lnTo>
                    <a:pt x="417" y="44"/>
                  </a:lnTo>
                  <a:lnTo>
                    <a:pt x="433" y="74"/>
                  </a:lnTo>
                  <a:lnTo>
                    <a:pt x="439" y="108"/>
                  </a:lnTo>
                  <a:lnTo>
                    <a:pt x="433" y="144"/>
                  </a:lnTo>
                  <a:lnTo>
                    <a:pt x="417" y="173"/>
                  </a:lnTo>
                  <a:lnTo>
                    <a:pt x="393" y="197"/>
                  </a:lnTo>
                  <a:lnTo>
                    <a:pt x="363" y="211"/>
                  </a:lnTo>
                  <a:lnTo>
                    <a:pt x="329" y="217"/>
                  </a:lnTo>
                  <a:lnTo>
                    <a:pt x="110" y="217"/>
                  </a:lnTo>
                  <a:lnTo>
                    <a:pt x="76" y="211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6" y="144"/>
                  </a:lnTo>
                  <a:lnTo>
                    <a:pt x="0" y="108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4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1"/>
            <p:cNvSpPr>
              <a:spLocks/>
            </p:cNvSpPr>
            <p:nvPr/>
          </p:nvSpPr>
          <p:spPr bwMode="auto">
            <a:xfrm>
              <a:off x="2788" y="1503"/>
              <a:ext cx="657" cy="108"/>
            </a:xfrm>
            <a:custGeom>
              <a:avLst/>
              <a:gdLst>
                <a:gd name="T0" fmla="*/ 110 w 1312"/>
                <a:gd name="T1" fmla="*/ 0 h 218"/>
                <a:gd name="T2" fmla="*/ 1202 w 1312"/>
                <a:gd name="T3" fmla="*/ 0 h 218"/>
                <a:gd name="T4" fmla="*/ 1238 w 1312"/>
                <a:gd name="T5" fmla="*/ 6 h 218"/>
                <a:gd name="T6" fmla="*/ 1268 w 1312"/>
                <a:gd name="T7" fmla="*/ 20 h 218"/>
                <a:gd name="T8" fmla="*/ 1290 w 1312"/>
                <a:gd name="T9" fmla="*/ 44 h 218"/>
                <a:gd name="T10" fmla="*/ 1306 w 1312"/>
                <a:gd name="T11" fmla="*/ 74 h 218"/>
                <a:gd name="T12" fmla="*/ 1312 w 1312"/>
                <a:gd name="T13" fmla="*/ 110 h 218"/>
                <a:gd name="T14" fmla="*/ 1306 w 1312"/>
                <a:gd name="T15" fmla="*/ 144 h 218"/>
                <a:gd name="T16" fmla="*/ 1290 w 1312"/>
                <a:gd name="T17" fmla="*/ 174 h 218"/>
                <a:gd name="T18" fmla="*/ 1268 w 1312"/>
                <a:gd name="T19" fmla="*/ 198 h 218"/>
                <a:gd name="T20" fmla="*/ 1238 w 1312"/>
                <a:gd name="T21" fmla="*/ 214 h 218"/>
                <a:gd name="T22" fmla="*/ 1202 w 1312"/>
                <a:gd name="T23" fmla="*/ 218 h 218"/>
                <a:gd name="T24" fmla="*/ 110 w 1312"/>
                <a:gd name="T25" fmla="*/ 218 h 218"/>
                <a:gd name="T26" fmla="*/ 76 w 1312"/>
                <a:gd name="T27" fmla="*/ 214 h 218"/>
                <a:gd name="T28" fmla="*/ 46 w 1312"/>
                <a:gd name="T29" fmla="*/ 198 h 218"/>
                <a:gd name="T30" fmla="*/ 22 w 1312"/>
                <a:gd name="T31" fmla="*/ 174 h 218"/>
                <a:gd name="T32" fmla="*/ 6 w 1312"/>
                <a:gd name="T33" fmla="*/ 144 h 218"/>
                <a:gd name="T34" fmla="*/ 0 w 1312"/>
                <a:gd name="T35" fmla="*/ 110 h 218"/>
                <a:gd name="T36" fmla="*/ 6 w 1312"/>
                <a:gd name="T37" fmla="*/ 74 h 218"/>
                <a:gd name="T38" fmla="*/ 22 w 1312"/>
                <a:gd name="T39" fmla="*/ 44 h 218"/>
                <a:gd name="T40" fmla="*/ 46 w 1312"/>
                <a:gd name="T41" fmla="*/ 20 h 218"/>
                <a:gd name="T42" fmla="*/ 76 w 1312"/>
                <a:gd name="T43" fmla="*/ 6 h 218"/>
                <a:gd name="T44" fmla="*/ 110 w 1312"/>
                <a:gd name="T45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2" h="218">
                  <a:moveTo>
                    <a:pt x="110" y="0"/>
                  </a:moveTo>
                  <a:lnTo>
                    <a:pt x="1202" y="0"/>
                  </a:lnTo>
                  <a:lnTo>
                    <a:pt x="1238" y="6"/>
                  </a:lnTo>
                  <a:lnTo>
                    <a:pt x="1268" y="20"/>
                  </a:lnTo>
                  <a:lnTo>
                    <a:pt x="1290" y="44"/>
                  </a:lnTo>
                  <a:lnTo>
                    <a:pt x="1306" y="74"/>
                  </a:lnTo>
                  <a:lnTo>
                    <a:pt x="1312" y="110"/>
                  </a:lnTo>
                  <a:lnTo>
                    <a:pt x="1306" y="144"/>
                  </a:lnTo>
                  <a:lnTo>
                    <a:pt x="1290" y="174"/>
                  </a:lnTo>
                  <a:lnTo>
                    <a:pt x="1268" y="198"/>
                  </a:lnTo>
                  <a:lnTo>
                    <a:pt x="1238" y="214"/>
                  </a:lnTo>
                  <a:lnTo>
                    <a:pt x="1202" y="218"/>
                  </a:lnTo>
                  <a:lnTo>
                    <a:pt x="110" y="218"/>
                  </a:lnTo>
                  <a:lnTo>
                    <a:pt x="76" y="214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2"/>
            <p:cNvSpPr>
              <a:spLocks/>
            </p:cNvSpPr>
            <p:nvPr/>
          </p:nvSpPr>
          <p:spPr bwMode="auto">
            <a:xfrm>
              <a:off x="3117" y="2159"/>
              <a:ext cx="656" cy="108"/>
            </a:xfrm>
            <a:custGeom>
              <a:avLst/>
              <a:gdLst>
                <a:gd name="T0" fmla="*/ 110 w 1312"/>
                <a:gd name="T1" fmla="*/ 0 h 217"/>
                <a:gd name="T2" fmla="*/ 1202 w 1312"/>
                <a:gd name="T3" fmla="*/ 0 h 217"/>
                <a:gd name="T4" fmla="*/ 1236 w 1312"/>
                <a:gd name="T5" fmla="*/ 4 h 217"/>
                <a:gd name="T6" fmla="*/ 1266 w 1312"/>
                <a:gd name="T7" fmla="*/ 20 h 217"/>
                <a:gd name="T8" fmla="*/ 1290 w 1312"/>
                <a:gd name="T9" fmla="*/ 44 h 217"/>
                <a:gd name="T10" fmla="*/ 1306 w 1312"/>
                <a:gd name="T11" fmla="*/ 74 h 217"/>
                <a:gd name="T12" fmla="*/ 1312 w 1312"/>
                <a:gd name="T13" fmla="*/ 108 h 217"/>
                <a:gd name="T14" fmla="*/ 1306 w 1312"/>
                <a:gd name="T15" fmla="*/ 144 h 217"/>
                <a:gd name="T16" fmla="*/ 1290 w 1312"/>
                <a:gd name="T17" fmla="*/ 173 h 217"/>
                <a:gd name="T18" fmla="*/ 1266 w 1312"/>
                <a:gd name="T19" fmla="*/ 197 h 217"/>
                <a:gd name="T20" fmla="*/ 1236 w 1312"/>
                <a:gd name="T21" fmla="*/ 211 h 217"/>
                <a:gd name="T22" fmla="*/ 1202 w 1312"/>
                <a:gd name="T23" fmla="*/ 217 h 217"/>
                <a:gd name="T24" fmla="*/ 110 w 1312"/>
                <a:gd name="T25" fmla="*/ 217 h 217"/>
                <a:gd name="T26" fmla="*/ 76 w 1312"/>
                <a:gd name="T27" fmla="*/ 211 h 217"/>
                <a:gd name="T28" fmla="*/ 46 w 1312"/>
                <a:gd name="T29" fmla="*/ 197 h 217"/>
                <a:gd name="T30" fmla="*/ 22 w 1312"/>
                <a:gd name="T31" fmla="*/ 173 h 217"/>
                <a:gd name="T32" fmla="*/ 4 w 1312"/>
                <a:gd name="T33" fmla="*/ 144 h 217"/>
                <a:gd name="T34" fmla="*/ 0 w 1312"/>
                <a:gd name="T35" fmla="*/ 108 h 217"/>
                <a:gd name="T36" fmla="*/ 4 w 1312"/>
                <a:gd name="T37" fmla="*/ 74 h 217"/>
                <a:gd name="T38" fmla="*/ 22 w 1312"/>
                <a:gd name="T39" fmla="*/ 44 h 217"/>
                <a:gd name="T40" fmla="*/ 46 w 1312"/>
                <a:gd name="T41" fmla="*/ 20 h 217"/>
                <a:gd name="T42" fmla="*/ 76 w 1312"/>
                <a:gd name="T43" fmla="*/ 4 h 217"/>
                <a:gd name="T44" fmla="*/ 110 w 1312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2" h="217">
                  <a:moveTo>
                    <a:pt x="110" y="0"/>
                  </a:moveTo>
                  <a:lnTo>
                    <a:pt x="1202" y="0"/>
                  </a:lnTo>
                  <a:lnTo>
                    <a:pt x="1236" y="4"/>
                  </a:lnTo>
                  <a:lnTo>
                    <a:pt x="1266" y="20"/>
                  </a:lnTo>
                  <a:lnTo>
                    <a:pt x="1290" y="44"/>
                  </a:lnTo>
                  <a:lnTo>
                    <a:pt x="1306" y="74"/>
                  </a:lnTo>
                  <a:lnTo>
                    <a:pt x="1312" y="108"/>
                  </a:lnTo>
                  <a:lnTo>
                    <a:pt x="1306" y="144"/>
                  </a:lnTo>
                  <a:lnTo>
                    <a:pt x="1290" y="173"/>
                  </a:lnTo>
                  <a:lnTo>
                    <a:pt x="1266" y="197"/>
                  </a:lnTo>
                  <a:lnTo>
                    <a:pt x="1236" y="211"/>
                  </a:lnTo>
                  <a:lnTo>
                    <a:pt x="1202" y="217"/>
                  </a:lnTo>
                  <a:lnTo>
                    <a:pt x="110" y="217"/>
                  </a:lnTo>
                  <a:lnTo>
                    <a:pt x="76" y="211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4" y="144"/>
                  </a:lnTo>
                  <a:lnTo>
                    <a:pt x="0" y="108"/>
                  </a:lnTo>
                  <a:lnTo>
                    <a:pt x="4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4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3"/>
            <p:cNvSpPr>
              <a:spLocks/>
            </p:cNvSpPr>
            <p:nvPr/>
          </p:nvSpPr>
          <p:spPr bwMode="auto">
            <a:xfrm>
              <a:off x="3445" y="2813"/>
              <a:ext cx="218" cy="110"/>
            </a:xfrm>
            <a:custGeom>
              <a:avLst/>
              <a:gdLst>
                <a:gd name="T0" fmla="*/ 110 w 437"/>
                <a:gd name="T1" fmla="*/ 0 h 219"/>
                <a:gd name="T2" fmla="*/ 327 w 437"/>
                <a:gd name="T3" fmla="*/ 0 h 219"/>
                <a:gd name="T4" fmla="*/ 363 w 437"/>
                <a:gd name="T5" fmla="*/ 6 h 219"/>
                <a:gd name="T6" fmla="*/ 393 w 437"/>
                <a:gd name="T7" fmla="*/ 22 h 219"/>
                <a:gd name="T8" fmla="*/ 417 w 437"/>
                <a:gd name="T9" fmla="*/ 45 h 219"/>
                <a:gd name="T10" fmla="*/ 431 w 437"/>
                <a:gd name="T11" fmla="*/ 75 h 219"/>
                <a:gd name="T12" fmla="*/ 437 w 437"/>
                <a:gd name="T13" fmla="*/ 109 h 219"/>
                <a:gd name="T14" fmla="*/ 431 w 437"/>
                <a:gd name="T15" fmla="*/ 143 h 219"/>
                <a:gd name="T16" fmla="*/ 417 w 437"/>
                <a:gd name="T17" fmla="*/ 173 h 219"/>
                <a:gd name="T18" fmla="*/ 393 w 437"/>
                <a:gd name="T19" fmla="*/ 197 h 219"/>
                <a:gd name="T20" fmla="*/ 363 w 437"/>
                <a:gd name="T21" fmla="*/ 213 h 219"/>
                <a:gd name="T22" fmla="*/ 327 w 437"/>
                <a:gd name="T23" fmla="*/ 219 h 219"/>
                <a:gd name="T24" fmla="*/ 110 w 437"/>
                <a:gd name="T25" fmla="*/ 219 h 219"/>
                <a:gd name="T26" fmla="*/ 76 w 437"/>
                <a:gd name="T27" fmla="*/ 213 h 219"/>
                <a:gd name="T28" fmla="*/ 44 w 437"/>
                <a:gd name="T29" fmla="*/ 197 h 219"/>
                <a:gd name="T30" fmla="*/ 22 w 437"/>
                <a:gd name="T31" fmla="*/ 173 h 219"/>
                <a:gd name="T32" fmla="*/ 6 w 437"/>
                <a:gd name="T33" fmla="*/ 143 h 219"/>
                <a:gd name="T34" fmla="*/ 0 w 437"/>
                <a:gd name="T35" fmla="*/ 109 h 219"/>
                <a:gd name="T36" fmla="*/ 6 w 437"/>
                <a:gd name="T37" fmla="*/ 75 h 219"/>
                <a:gd name="T38" fmla="*/ 22 w 437"/>
                <a:gd name="T39" fmla="*/ 45 h 219"/>
                <a:gd name="T40" fmla="*/ 44 w 437"/>
                <a:gd name="T41" fmla="*/ 22 h 219"/>
                <a:gd name="T42" fmla="*/ 76 w 437"/>
                <a:gd name="T43" fmla="*/ 6 h 219"/>
                <a:gd name="T44" fmla="*/ 110 w 437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7" h="219">
                  <a:moveTo>
                    <a:pt x="110" y="0"/>
                  </a:moveTo>
                  <a:lnTo>
                    <a:pt x="327" y="0"/>
                  </a:lnTo>
                  <a:lnTo>
                    <a:pt x="363" y="6"/>
                  </a:lnTo>
                  <a:lnTo>
                    <a:pt x="393" y="22"/>
                  </a:lnTo>
                  <a:lnTo>
                    <a:pt x="417" y="45"/>
                  </a:lnTo>
                  <a:lnTo>
                    <a:pt x="431" y="75"/>
                  </a:lnTo>
                  <a:lnTo>
                    <a:pt x="437" y="109"/>
                  </a:lnTo>
                  <a:lnTo>
                    <a:pt x="431" y="143"/>
                  </a:lnTo>
                  <a:lnTo>
                    <a:pt x="417" y="173"/>
                  </a:lnTo>
                  <a:lnTo>
                    <a:pt x="393" y="197"/>
                  </a:lnTo>
                  <a:lnTo>
                    <a:pt x="363" y="213"/>
                  </a:lnTo>
                  <a:lnTo>
                    <a:pt x="327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4" y="197"/>
                  </a:lnTo>
                  <a:lnTo>
                    <a:pt x="22" y="173"/>
                  </a:lnTo>
                  <a:lnTo>
                    <a:pt x="6" y="143"/>
                  </a:lnTo>
                  <a:lnTo>
                    <a:pt x="0" y="109"/>
                  </a:lnTo>
                  <a:lnTo>
                    <a:pt x="6" y="75"/>
                  </a:lnTo>
                  <a:lnTo>
                    <a:pt x="22" y="45"/>
                  </a:lnTo>
                  <a:lnTo>
                    <a:pt x="44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4"/>
            <p:cNvSpPr>
              <a:spLocks/>
            </p:cNvSpPr>
            <p:nvPr/>
          </p:nvSpPr>
          <p:spPr bwMode="auto">
            <a:xfrm>
              <a:off x="2788" y="2485"/>
              <a:ext cx="547" cy="110"/>
            </a:xfrm>
            <a:custGeom>
              <a:avLst/>
              <a:gdLst>
                <a:gd name="T0" fmla="*/ 110 w 1093"/>
                <a:gd name="T1" fmla="*/ 0 h 219"/>
                <a:gd name="T2" fmla="*/ 985 w 1093"/>
                <a:gd name="T3" fmla="*/ 0 h 219"/>
                <a:gd name="T4" fmla="*/ 1019 w 1093"/>
                <a:gd name="T5" fmla="*/ 6 h 219"/>
                <a:gd name="T6" fmla="*/ 1049 w 1093"/>
                <a:gd name="T7" fmla="*/ 22 h 219"/>
                <a:gd name="T8" fmla="*/ 1073 w 1093"/>
                <a:gd name="T9" fmla="*/ 46 h 219"/>
                <a:gd name="T10" fmla="*/ 1089 w 1093"/>
                <a:gd name="T11" fmla="*/ 76 h 219"/>
                <a:gd name="T12" fmla="*/ 1093 w 1093"/>
                <a:gd name="T13" fmla="*/ 109 h 219"/>
                <a:gd name="T14" fmla="*/ 1089 w 1093"/>
                <a:gd name="T15" fmla="*/ 145 h 219"/>
                <a:gd name="T16" fmla="*/ 1073 w 1093"/>
                <a:gd name="T17" fmla="*/ 175 h 219"/>
                <a:gd name="T18" fmla="*/ 1049 w 1093"/>
                <a:gd name="T19" fmla="*/ 199 h 219"/>
                <a:gd name="T20" fmla="*/ 1019 w 1093"/>
                <a:gd name="T21" fmla="*/ 213 h 219"/>
                <a:gd name="T22" fmla="*/ 985 w 1093"/>
                <a:gd name="T23" fmla="*/ 219 h 219"/>
                <a:gd name="T24" fmla="*/ 110 w 1093"/>
                <a:gd name="T25" fmla="*/ 219 h 219"/>
                <a:gd name="T26" fmla="*/ 76 w 1093"/>
                <a:gd name="T27" fmla="*/ 213 h 219"/>
                <a:gd name="T28" fmla="*/ 46 w 1093"/>
                <a:gd name="T29" fmla="*/ 199 h 219"/>
                <a:gd name="T30" fmla="*/ 22 w 1093"/>
                <a:gd name="T31" fmla="*/ 175 h 219"/>
                <a:gd name="T32" fmla="*/ 6 w 1093"/>
                <a:gd name="T33" fmla="*/ 145 h 219"/>
                <a:gd name="T34" fmla="*/ 0 w 1093"/>
                <a:gd name="T35" fmla="*/ 109 h 219"/>
                <a:gd name="T36" fmla="*/ 6 w 1093"/>
                <a:gd name="T37" fmla="*/ 76 h 219"/>
                <a:gd name="T38" fmla="*/ 22 w 1093"/>
                <a:gd name="T39" fmla="*/ 46 h 219"/>
                <a:gd name="T40" fmla="*/ 46 w 1093"/>
                <a:gd name="T41" fmla="*/ 22 h 219"/>
                <a:gd name="T42" fmla="*/ 76 w 1093"/>
                <a:gd name="T43" fmla="*/ 6 h 219"/>
                <a:gd name="T44" fmla="*/ 110 w 1093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19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6"/>
                  </a:lnTo>
                  <a:lnTo>
                    <a:pt x="1089" y="76"/>
                  </a:lnTo>
                  <a:lnTo>
                    <a:pt x="1093" y="109"/>
                  </a:lnTo>
                  <a:lnTo>
                    <a:pt x="1089" y="145"/>
                  </a:lnTo>
                  <a:lnTo>
                    <a:pt x="1073" y="175"/>
                  </a:lnTo>
                  <a:lnTo>
                    <a:pt x="1049" y="199"/>
                  </a:lnTo>
                  <a:lnTo>
                    <a:pt x="1019" y="213"/>
                  </a:lnTo>
                  <a:lnTo>
                    <a:pt x="985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9"/>
                  </a:lnTo>
                  <a:lnTo>
                    <a:pt x="22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5"/>
            <p:cNvSpPr>
              <a:spLocks/>
            </p:cNvSpPr>
            <p:nvPr/>
          </p:nvSpPr>
          <p:spPr bwMode="auto">
            <a:xfrm>
              <a:off x="2788" y="2813"/>
              <a:ext cx="547" cy="110"/>
            </a:xfrm>
            <a:custGeom>
              <a:avLst/>
              <a:gdLst>
                <a:gd name="T0" fmla="*/ 110 w 1093"/>
                <a:gd name="T1" fmla="*/ 0 h 219"/>
                <a:gd name="T2" fmla="*/ 985 w 1093"/>
                <a:gd name="T3" fmla="*/ 0 h 219"/>
                <a:gd name="T4" fmla="*/ 1019 w 1093"/>
                <a:gd name="T5" fmla="*/ 6 h 219"/>
                <a:gd name="T6" fmla="*/ 1049 w 1093"/>
                <a:gd name="T7" fmla="*/ 22 h 219"/>
                <a:gd name="T8" fmla="*/ 1073 w 1093"/>
                <a:gd name="T9" fmla="*/ 45 h 219"/>
                <a:gd name="T10" fmla="*/ 1089 w 1093"/>
                <a:gd name="T11" fmla="*/ 75 h 219"/>
                <a:gd name="T12" fmla="*/ 1093 w 1093"/>
                <a:gd name="T13" fmla="*/ 109 h 219"/>
                <a:gd name="T14" fmla="*/ 1089 w 1093"/>
                <a:gd name="T15" fmla="*/ 143 h 219"/>
                <a:gd name="T16" fmla="*/ 1073 w 1093"/>
                <a:gd name="T17" fmla="*/ 173 h 219"/>
                <a:gd name="T18" fmla="*/ 1049 w 1093"/>
                <a:gd name="T19" fmla="*/ 197 h 219"/>
                <a:gd name="T20" fmla="*/ 1019 w 1093"/>
                <a:gd name="T21" fmla="*/ 213 h 219"/>
                <a:gd name="T22" fmla="*/ 985 w 1093"/>
                <a:gd name="T23" fmla="*/ 219 h 219"/>
                <a:gd name="T24" fmla="*/ 110 w 1093"/>
                <a:gd name="T25" fmla="*/ 219 h 219"/>
                <a:gd name="T26" fmla="*/ 76 w 1093"/>
                <a:gd name="T27" fmla="*/ 213 h 219"/>
                <a:gd name="T28" fmla="*/ 46 w 1093"/>
                <a:gd name="T29" fmla="*/ 197 h 219"/>
                <a:gd name="T30" fmla="*/ 22 w 1093"/>
                <a:gd name="T31" fmla="*/ 173 h 219"/>
                <a:gd name="T32" fmla="*/ 6 w 1093"/>
                <a:gd name="T33" fmla="*/ 143 h 219"/>
                <a:gd name="T34" fmla="*/ 0 w 1093"/>
                <a:gd name="T35" fmla="*/ 109 h 219"/>
                <a:gd name="T36" fmla="*/ 6 w 1093"/>
                <a:gd name="T37" fmla="*/ 75 h 219"/>
                <a:gd name="T38" fmla="*/ 22 w 1093"/>
                <a:gd name="T39" fmla="*/ 45 h 219"/>
                <a:gd name="T40" fmla="*/ 46 w 1093"/>
                <a:gd name="T41" fmla="*/ 22 h 219"/>
                <a:gd name="T42" fmla="*/ 76 w 1093"/>
                <a:gd name="T43" fmla="*/ 6 h 219"/>
                <a:gd name="T44" fmla="*/ 110 w 1093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19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5"/>
                  </a:lnTo>
                  <a:lnTo>
                    <a:pt x="1089" y="75"/>
                  </a:lnTo>
                  <a:lnTo>
                    <a:pt x="1093" y="109"/>
                  </a:lnTo>
                  <a:lnTo>
                    <a:pt x="1089" y="143"/>
                  </a:lnTo>
                  <a:lnTo>
                    <a:pt x="1073" y="173"/>
                  </a:lnTo>
                  <a:lnTo>
                    <a:pt x="1049" y="197"/>
                  </a:lnTo>
                  <a:lnTo>
                    <a:pt x="1019" y="213"/>
                  </a:lnTo>
                  <a:lnTo>
                    <a:pt x="985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6" y="143"/>
                  </a:lnTo>
                  <a:lnTo>
                    <a:pt x="0" y="109"/>
                  </a:lnTo>
                  <a:lnTo>
                    <a:pt x="6" y="75"/>
                  </a:lnTo>
                  <a:lnTo>
                    <a:pt x="22" y="45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6"/>
            <p:cNvSpPr>
              <a:spLocks noEditPoints="1"/>
            </p:cNvSpPr>
            <p:nvPr/>
          </p:nvSpPr>
          <p:spPr bwMode="auto">
            <a:xfrm>
              <a:off x="3445" y="2597"/>
              <a:ext cx="1202" cy="1200"/>
            </a:xfrm>
            <a:custGeom>
              <a:avLst/>
              <a:gdLst>
                <a:gd name="T0" fmla="*/ 219 w 2405"/>
                <a:gd name="T1" fmla="*/ 2181 h 2400"/>
                <a:gd name="T2" fmla="*/ 219 w 2405"/>
                <a:gd name="T3" fmla="*/ 1680 h 2400"/>
                <a:gd name="T4" fmla="*/ 702 w 2405"/>
                <a:gd name="T5" fmla="*/ 1854 h 2400"/>
                <a:gd name="T6" fmla="*/ 1825 w 2405"/>
                <a:gd name="T7" fmla="*/ 1078 h 2400"/>
                <a:gd name="T8" fmla="*/ 1322 w 2405"/>
                <a:gd name="T9" fmla="*/ 576 h 2400"/>
                <a:gd name="T10" fmla="*/ 546 w 2405"/>
                <a:gd name="T11" fmla="*/ 1698 h 2400"/>
                <a:gd name="T12" fmla="*/ 1322 w 2405"/>
                <a:gd name="T13" fmla="*/ 576 h 2400"/>
                <a:gd name="T14" fmla="*/ 1739 w 2405"/>
                <a:gd name="T15" fmla="*/ 217 h 2400"/>
                <a:gd name="T16" fmla="*/ 1657 w 2405"/>
                <a:gd name="T17" fmla="*/ 249 h 2400"/>
                <a:gd name="T18" fmla="*/ 1478 w 2405"/>
                <a:gd name="T19" fmla="*/ 423 h 2400"/>
                <a:gd name="T20" fmla="*/ 2120 w 2405"/>
                <a:gd name="T21" fmla="*/ 781 h 2400"/>
                <a:gd name="T22" fmla="*/ 2174 w 2405"/>
                <a:gd name="T23" fmla="*/ 704 h 2400"/>
                <a:gd name="T24" fmla="*/ 2186 w 2405"/>
                <a:gd name="T25" fmla="*/ 620 h 2400"/>
                <a:gd name="T26" fmla="*/ 2152 w 2405"/>
                <a:gd name="T27" fmla="*/ 538 h 2400"/>
                <a:gd name="T28" fmla="*/ 1901 w 2405"/>
                <a:gd name="T29" fmla="*/ 281 h 2400"/>
                <a:gd name="T30" fmla="*/ 1823 w 2405"/>
                <a:gd name="T31" fmla="*/ 227 h 2400"/>
                <a:gd name="T32" fmla="*/ 1761 w 2405"/>
                <a:gd name="T33" fmla="*/ 0 h 2400"/>
                <a:gd name="T34" fmla="*/ 1887 w 2405"/>
                <a:gd name="T35" fmla="*/ 20 h 2400"/>
                <a:gd name="T36" fmla="*/ 2002 w 2405"/>
                <a:gd name="T37" fmla="*/ 82 h 2400"/>
                <a:gd name="T38" fmla="*/ 2275 w 2405"/>
                <a:gd name="T39" fmla="*/ 345 h 2400"/>
                <a:gd name="T40" fmla="*/ 2359 w 2405"/>
                <a:gd name="T41" fmla="*/ 457 h 2400"/>
                <a:gd name="T42" fmla="*/ 2401 w 2405"/>
                <a:gd name="T43" fmla="*/ 578 h 2400"/>
                <a:gd name="T44" fmla="*/ 2401 w 2405"/>
                <a:gd name="T45" fmla="*/ 704 h 2400"/>
                <a:gd name="T46" fmla="*/ 2359 w 2405"/>
                <a:gd name="T47" fmla="*/ 825 h 2400"/>
                <a:gd name="T48" fmla="*/ 2275 w 2405"/>
                <a:gd name="T49" fmla="*/ 937 h 2400"/>
                <a:gd name="T50" fmla="*/ 820 w 2405"/>
                <a:gd name="T51" fmla="*/ 2386 h 2400"/>
                <a:gd name="T52" fmla="*/ 766 w 2405"/>
                <a:gd name="T53" fmla="*/ 2400 h 2400"/>
                <a:gd name="T54" fmla="*/ 76 w 2405"/>
                <a:gd name="T55" fmla="*/ 2394 h 2400"/>
                <a:gd name="T56" fmla="*/ 22 w 2405"/>
                <a:gd name="T57" fmla="*/ 2356 h 2400"/>
                <a:gd name="T58" fmla="*/ 0 w 2405"/>
                <a:gd name="T59" fmla="*/ 2290 h 2400"/>
                <a:gd name="T60" fmla="*/ 4 w 2405"/>
                <a:gd name="T61" fmla="*/ 1607 h 2400"/>
                <a:gd name="T62" fmla="*/ 32 w 2405"/>
                <a:gd name="T63" fmla="*/ 1559 h 2400"/>
                <a:gd name="T64" fmla="*/ 1518 w 2405"/>
                <a:gd name="T65" fmla="*/ 82 h 2400"/>
                <a:gd name="T66" fmla="*/ 1635 w 2405"/>
                <a:gd name="T67" fmla="*/ 20 h 2400"/>
                <a:gd name="T68" fmla="*/ 1761 w 2405"/>
                <a:gd name="T69" fmla="*/ 0 h 2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05" h="2400">
                  <a:moveTo>
                    <a:pt x="219" y="1680"/>
                  </a:moveTo>
                  <a:lnTo>
                    <a:pt x="219" y="2181"/>
                  </a:lnTo>
                  <a:lnTo>
                    <a:pt x="720" y="2181"/>
                  </a:lnTo>
                  <a:lnTo>
                    <a:pt x="219" y="1680"/>
                  </a:lnTo>
                  <a:close/>
                  <a:moveTo>
                    <a:pt x="1651" y="905"/>
                  </a:moveTo>
                  <a:lnTo>
                    <a:pt x="702" y="1854"/>
                  </a:lnTo>
                  <a:lnTo>
                    <a:pt x="876" y="2027"/>
                  </a:lnTo>
                  <a:lnTo>
                    <a:pt x="1825" y="1078"/>
                  </a:lnTo>
                  <a:lnTo>
                    <a:pt x="1651" y="905"/>
                  </a:lnTo>
                  <a:close/>
                  <a:moveTo>
                    <a:pt x="1322" y="576"/>
                  </a:moveTo>
                  <a:lnTo>
                    <a:pt x="373" y="1525"/>
                  </a:lnTo>
                  <a:lnTo>
                    <a:pt x="546" y="1698"/>
                  </a:lnTo>
                  <a:lnTo>
                    <a:pt x="1496" y="750"/>
                  </a:lnTo>
                  <a:lnTo>
                    <a:pt x="1322" y="576"/>
                  </a:lnTo>
                  <a:close/>
                  <a:moveTo>
                    <a:pt x="1781" y="217"/>
                  </a:moveTo>
                  <a:lnTo>
                    <a:pt x="1739" y="217"/>
                  </a:lnTo>
                  <a:lnTo>
                    <a:pt x="1697" y="227"/>
                  </a:lnTo>
                  <a:lnTo>
                    <a:pt x="1657" y="249"/>
                  </a:lnTo>
                  <a:lnTo>
                    <a:pt x="1619" y="281"/>
                  </a:lnTo>
                  <a:lnTo>
                    <a:pt x="1478" y="423"/>
                  </a:lnTo>
                  <a:lnTo>
                    <a:pt x="1978" y="923"/>
                  </a:lnTo>
                  <a:lnTo>
                    <a:pt x="2120" y="781"/>
                  </a:lnTo>
                  <a:lnTo>
                    <a:pt x="2152" y="744"/>
                  </a:lnTo>
                  <a:lnTo>
                    <a:pt x="2174" y="704"/>
                  </a:lnTo>
                  <a:lnTo>
                    <a:pt x="2186" y="662"/>
                  </a:lnTo>
                  <a:lnTo>
                    <a:pt x="2186" y="620"/>
                  </a:lnTo>
                  <a:lnTo>
                    <a:pt x="2174" y="578"/>
                  </a:lnTo>
                  <a:lnTo>
                    <a:pt x="2152" y="538"/>
                  </a:lnTo>
                  <a:lnTo>
                    <a:pt x="2120" y="500"/>
                  </a:lnTo>
                  <a:lnTo>
                    <a:pt x="1901" y="281"/>
                  </a:lnTo>
                  <a:lnTo>
                    <a:pt x="1863" y="249"/>
                  </a:lnTo>
                  <a:lnTo>
                    <a:pt x="1823" y="227"/>
                  </a:lnTo>
                  <a:lnTo>
                    <a:pt x="1781" y="217"/>
                  </a:lnTo>
                  <a:close/>
                  <a:moveTo>
                    <a:pt x="1761" y="0"/>
                  </a:moveTo>
                  <a:lnTo>
                    <a:pt x="1823" y="6"/>
                  </a:lnTo>
                  <a:lnTo>
                    <a:pt x="1887" y="20"/>
                  </a:lnTo>
                  <a:lnTo>
                    <a:pt x="1946" y="46"/>
                  </a:lnTo>
                  <a:lnTo>
                    <a:pt x="2002" y="82"/>
                  </a:lnTo>
                  <a:lnTo>
                    <a:pt x="2056" y="126"/>
                  </a:lnTo>
                  <a:lnTo>
                    <a:pt x="2275" y="345"/>
                  </a:lnTo>
                  <a:lnTo>
                    <a:pt x="2321" y="399"/>
                  </a:lnTo>
                  <a:lnTo>
                    <a:pt x="2359" y="457"/>
                  </a:lnTo>
                  <a:lnTo>
                    <a:pt x="2385" y="516"/>
                  </a:lnTo>
                  <a:lnTo>
                    <a:pt x="2401" y="578"/>
                  </a:lnTo>
                  <a:lnTo>
                    <a:pt x="2405" y="640"/>
                  </a:lnTo>
                  <a:lnTo>
                    <a:pt x="2401" y="704"/>
                  </a:lnTo>
                  <a:lnTo>
                    <a:pt x="2385" y="766"/>
                  </a:lnTo>
                  <a:lnTo>
                    <a:pt x="2359" y="825"/>
                  </a:lnTo>
                  <a:lnTo>
                    <a:pt x="2321" y="883"/>
                  </a:lnTo>
                  <a:lnTo>
                    <a:pt x="2275" y="937"/>
                  </a:lnTo>
                  <a:lnTo>
                    <a:pt x="842" y="2368"/>
                  </a:lnTo>
                  <a:lnTo>
                    <a:pt x="820" y="2386"/>
                  </a:lnTo>
                  <a:lnTo>
                    <a:pt x="794" y="2396"/>
                  </a:lnTo>
                  <a:lnTo>
                    <a:pt x="766" y="2400"/>
                  </a:lnTo>
                  <a:lnTo>
                    <a:pt x="110" y="2400"/>
                  </a:lnTo>
                  <a:lnTo>
                    <a:pt x="76" y="2394"/>
                  </a:lnTo>
                  <a:lnTo>
                    <a:pt x="44" y="2378"/>
                  </a:lnTo>
                  <a:lnTo>
                    <a:pt x="22" y="2356"/>
                  </a:lnTo>
                  <a:lnTo>
                    <a:pt x="6" y="2324"/>
                  </a:lnTo>
                  <a:lnTo>
                    <a:pt x="0" y="2290"/>
                  </a:lnTo>
                  <a:lnTo>
                    <a:pt x="0" y="1635"/>
                  </a:lnTo>
                  <a:lnTo>
                    <a:pt x="4" y="1607"/>
                  </a:lnTo>
                  <a:lnTo>
                    <a:pt x="14" y="1581"/>
                  </a:lnTo>
                  <a:lnTo>
                    <a:pt x="32" y="1559"/>
                  </a:lnTo>
                  <a:lnTo>
                    <a:pt x="1464" y="126"/>
                  </a:lnTo>
                  <a:lnTo>
                    <a:pt x="1518" y="82"/>
                  </a:lnTo>
                  <a:lnTo>
                    <a:pt x="1573" y="46"/>
                  </a:lnTo>
                  <a:lnTo>
                    <a:pt x="1635" y="20"/>
                  </a:lnTo>
                  <a:lnTo>
                    <a:pt x="1697" y="6"/>
                  </a:lnTo>
                  <a:lnTo>
                    <a:pt x="1761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7"/>
            <p:cNvSpPr>
              <a:spLocks/>
            </p:cNvSpPr>
            <p:nvPr/>
          </p:nvSpPr>
          <p:spPr bwMode="auto">
            <a:xfrm>
              <a:off x="1586" y="519"/>
              <a:ext cx="2623" cy="3278"/>
            </a:xfrm>
            <a:custGeom>
              <a:avLst/>
              <a:gdLst>
                <a:gd name="T0" fmla="*/ 4044 w 5247"/>
                <a:gd name="T1" fmla="*/ 0 h 6556"/>
                <a:gd name="T2" fmla="*/ 4100 w 5247"/>
                <a:gd name="T3" fmla="*/ 16 h 6556"/>
                <a:gd name="T4" fmla="*/ 5215 w 5247"/>
                <a:gd name="T5" fmla="*/ 1124 h 6556"/>
                <a:gd name="T6" fmla="*/ 5245 w 5247"/>
                <a:gd name="T7" fmla="*/ 1174 h 6556"/>
                <a:gd name="T8" fmla="*/ 5245 w 5247"/>
                <a:gd name="T9" fmla="*/ 1230 h 6556"/>
                <a:gd name="T10" fmla="*/ 5215 w 5247"/>
                <a:gd name="T11" fmla="*/ 1280 h 6556"/>
                <a:gd name="T12" fmla="*/ 5167 w 5247"/>
                <a:gd name="T13" fmla="*/ 1308 h 6556"/>
                <a:gd name="T14" fmla="*/ 5111 w 5247"/>
                <a:gd name="T15" fmla="*/ 1308 h 6556"/>
                <a:gd name="T16" fmla="*/ 5061 w 5247"/>
                <a:gd name="T17" fmla="*/ 1280 h 6556"/>
                <a:gd name="T18" fmla="*/ 546 w 5247"/>
                <a:gd name="T19" fmla="*/ 219 h 6556"/>
                <a:gd name="T20" fmla="*/ 433 w 5247"/>
                <a:gd name="T21" fmla="*/ 239 h 6556"/>
                <a:gd name="T22" fmla="*/ 337 w 5247"/>
                <a:gd name="T23" fmla="*/ 297 h 6556"/>
                <a:gd name="T24" fmla="*/ 265 w 5247"/>
                <a:gd name="T25" fmla="*/ 381 h 6556"/>
                <a:gd name="T26" fmla="*/ 225 w 5247"/>
                <a:gd name="T27" fmla="*/ 488 h 6556"/>
                <a:gd name="T28" fmla="*/ 219 w 5247"/>
                <a:gd name="T29" fmla="*/ 6010 h 6556"/>
                <a:gd name="T30" fmla="*/ 239 w 5247"/>
                <a:gd name="T31" fmla="*/ 6123 h 6556"/>
                <a:gd name="T32" fmla="*/ 297 w 5247"/>
                <a:gd name="T33" fmla="*/ 6221 h 6556"/>
                <a:gd name="T34" fmla="*/ 383 w 5247"/>
                <a:gd name="T35" fmla="*/ 6293 h 6556"/>
                <a:gd name="T36" fmla="*/ 489 w 5247"/>
                <a:gd name="T37" fmla="*/ 6333 h 6556"/>
                <a:gd name="T38" fmla="*/ 3390 w 5247"/>
                <a:gd name="T39" fmla="*/ 6337 h 6556"/>
                <a:gd name="T40" fmla="*/ 3454 w 5247"/>
                <a:gd name="T41" fmla="*/ 6359 h 6556"/>
                <a:gd name="T42" fmla="*/ 3494 w 5247"/>
                <a:gd name="T43" fmla="*/ 6413 h 6556"/>
                <a:gd name="T44" fmla="*/ 3494 w 5247"/>
                <a:gd name="T45" fmla="*/ 6480 h 6556"/>
                <a:gd name="T46" fmla="*/ 3454 w 5247"/>
                <a:gd name="T47" fmla="*/ 6534 h 6556"/>
                <a:gd name="T48" fmla="*/ 3390 w 5247"/>
                <a:gd name="T49" fmla="*/ 6556 h 6556"/>
                <a:gd name="T50" fmla="*/ 467 w 5247"/>
                <a:gd name="T51" fmla="*/ 6550 h 6556"/>
                <a:gd name="T52" fmla="*/ 317 w 5247"/>
                <a:gd name="T53" fmla="*/ 6504 h 6556"/>
                <a:gd name="T54" fmla="*/ 189 w 5247"/>
                <a:gd name="T55" fmla="*/ 6422 h 6556"/>
                <a:gd name="T56" fmla="*/ 90 w 5247"/>
                <a:gd name="T57" fmla="*/ 6307 h 6556"/>
                <a:gd name="T58" fmla="*/ 24 w 5247"/>
                <a:gd name="T59" fmla="*/ 6167 h 6556"/>
                <a:gd name="T60" fmla="*/ 0 w 5247"/>
                <a:gd name="T61" fmla="*/ 6010 h 6556"/>
                <a:gd name="T62" fmla="*/ 6 w 5247"/>
                <a:gd name="T63" fmla="*/ 466 h 6556"/>
                <a:gd name="T64" fmla="*/ 52 w 5247"/>
                <a:gd name="T65" fmla="*/ 317 h 6556"/>
                <a:gd name="T66" fmla="*/ 136 w 5247"/>
                <a:gd name="T67" fmla="*/ 189 h 6556"/>
                <a:gd name="T68" fmla="*/ 249 w 5247"/>
                <a:gd name="T69" fmla="*/ 88 h 6556"/>
                <a:gd name="T70" fmla="*/ 389 w 5247"/>
                <a:gd name="T71" fmla="*/ 24 h 6556"/>
                <a:gd name="T72" fmla="*/ 546 w 5247"/>
                <a:gd name="T73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7" h="6556">
                  <a:moveTo>
                    <a:pt x="546" y="0"/>
                  </a:moveTo>
                  <a:lnTo>
                    <a:pt x="4044" y="0"/>
                  </a:lnTo>
                  <a:lnTo>
                    <a:pt x="4074" y="4"/>
                  </a:lnTo>
                  <a:lnTo>
                    <a:pt x="4100" y="16"/>
                  </a:lnTo>
                  <a:lnTo>
                    <a:pt x="4122" y="32"/>
                  </a:lnTo>
                  <a:lnTo>
                    <a:pt x="5215" y="1124"/>
                  </a:lnTo>
                  <a:lnTo>
                    <a:pt x="5233" y="1148"/>
                  </a:lnTo>
                  <a:lnTo>
                    <a:pt x="5245" y="1174"/>
                  </a:lnTo>
                  <a:lnTo>
                    <a:pt x="5247" y="1202"/>
                  </a:lnTo>
                  <a:lnTo>
                    <a:pt x="5245" y="1230"/>
                  </a:lnTo>
                  <a:lnTo>
                    <a:pt x="5233" y="1256"/>
                  </a:lnTo>
                  <a:lnTo>
                    <a:pt x="5215" y="1280"/>
                  </a:lnTo>
                  <a:lnTo>
                    <a:pt x="5193" y="1298"/>
                  </a:lnTo>
                  <a:lnTo>
                    <a:pt x="5167" y="1308"/>
                  </a:lnTo>
                  <a:lnTo>
                    <a:pt x="5139" y="1312"/>
                  </a:lnTo>
                  <a:lnTo>
                    <a:pt x="5111" y="1308"/>
                  </a:lnTo>
                  <a:lnTo>
                    <a:pt x="5085" y="1298"/>
                  </a:lnTo>
                  <a:lnTo>
                    <a:pt x="5061" y="1280"/>
                  </a:lnTo>
                  <a:lnTo>
                    <a:pt x="4000" y="219"/>
                  </a:lnTo>
                  <a:lnTo>
                    <a:pt x="546" y="219"/>
                  </a:lnTo>
                  <a:lnTo>
                    <a:pt x="489" y="223"/>
                  </a:lnTo>
                  <a:lnTo>
                    <a:pt x="433" y="239"/>
                  </a:lnTo>
                  <a:lnTo>
                    <a:pt x="383" y="263"/>
                  </a:lnTo>
                  <a:lnTo>
                    <a:pt x="337" y="297"/>
                  </a:lnTo>
                  <a:lnTo>
                    <a:pt x="297" y="335"/>
                  </a:lnTo>
                  <a:lnTo>
                    <a:pt x="265" y="381"/>
                  </a:lnTo>
                  <a:lnTo>
                    <a:pt x="239" y="433"/>
                  </a:lnTo>
                  <a:lnTo>
                    <a:pt x="225" y="488"/>
                  </a:lnTo>
                  <a:lnTo>
                    <a:pt x="219" y="546"/>
                  </a:lnTo>
                  <a:lnTo>
                    <a:pt x="219" y="6010"/>
                  </a:lnTo>
                  <a:lnTo>
                    <a:pt x="225" y="6068"/>
                  </a:lnTo>
                  <a:lnTo>
                    <a:pt x="239" y="6123"/>
                  </a:lnTo>
                  <a:lnTo>
                    <a:pt x="265" y="6175"/>
                  </a:lnTo>
                  <a:lnTo>
                    <a:pt x="297" y="6221"/>
                  </a:lnTo>
                  <a:lnTo>
                    <a:pt x="337" y="6261"/>
                  </a:lnTo>
                  <a:lnTo>
                    <a:pt x="383" y="6293"/>
                  </a:lnTo>
                  <a:lnTo>
                    <a:pt x="433" y="6317"/>
                  </a:lnTo>
                  <a:lnTo>
                    <a:pt x="489" y="6333"/>
                  </a:lnTo>
                  <a:lnTo>
                    <a:pt x="546" y="6337"/>
                  </a:lnTo>
                  <a:lnTo>
                    <a:pt x="3390" y="6337"/>
                  </a:lnTo>
                  <a:lnTo>
                    <a:pt x="3424" y="6343"/>
                  </a:lnTo>
                  <a:lnTo>
                    <a:pt x="3454" y="6359"/>
                  </a:lnTo>
                  <a:lnTo>
                    <a:pt x="3478" y="6383"/>
                  </a:lnTo>
                  <a:lnTo>
                    <a:pt x="3494" y="6413"/>
                  </a:lnTo>
                  <a:lnTo>
                    <a:pt x="3498" y="6446"/>
                  </a:lnTo>
                  <a:lnTo>
                    <a:pt x="3494" y="6480"/>
                  </a:lnTo>
                  <a:lnTo>
                    <a:pt x="3478" y="6512"/>
                  </a:lnTo>
                  <a:lnTo>
                    <a:pt x="3454" y="6534"/>
                  </a:lnTo>
                  <a:lnTo>
                    <a:pt x="3424" y="6550"/>
                  </a:lnTo>
                  <a:lnTo>
                    <a:pt x="3390" y="6556"/>
                  </a:lnTo>
                  <a:lnTo>
                    <a:pt x="546" y="6556"/>
                  </a:lnTo>
                  <a:lnTo>
                    <a:pt x="467" y="6550"/>
                  </a:lnTo>
                  <a:lnTo>
                    <a:pt x="389" y="6532"/>
                  </a:lnTo>
                  <a:lnTo>
                    <a:pt x="317" y="6504"/>
                  </a:lnTo>
                  <a:lnTo>
                    <a:pt x="249" y="6468"/>
                  </a:lnTo>
                  <a:lnTo>
                    <a:pt x="189" y="6422"/>
                  </a:lnTo>
                  <a:lnTo>
                    <a:pt x="136" y="6369"/>
                  </a:lnTo>
                  <a:lnTo>
                    <a:pt x="90" y="6307"/>
                  </a:lnTo>
                  <a:lnTo>
                    <a:pt x="52" y="6239"/>
                  </a:lnTo>
                  <a:lnTo>
                    <a:pt x="24" y="6167"/>
                  </a:lnTo>
                  <a:lnTo>
                    <a:pt x="6" y="6090"/>
                  </a:lnTo>
                  <a:lnTo>
                    <a:pt x="0" y="6010"/>
                  </a:lnTo>
                  <a:lnTo>
                    <a:pt x="0" y="546"/>
                  </a:lnTo>
                  <a:lnTo>
                    <a:pt x="6" y="466"/>
                  </a:lnTo>
                  <a:lnTo>
                    <a:pt x="24" y="389"/>
                  </a:lnTo>
                  <a:lnTo>
                    <a:pt x="52" y="317"/>
                  </a:lnTo>
                  <a:lnTo>
                    <a:pt x="90" y="249"/>
                  </a:lnTo>
                  <a:lnTo>
                    <a:pt x="136" y="189"/>
                  </a:lnTo>
                  <a:lnTo>
                    <a:pt x="189" y="136"/>
                  </a:lnTo>
                  <a:lnTo>
                    <a:pt x="249" y="88"/>
                  </a:lnTo>
                  <a:lnTo>
                    <a:pt x="317" y="52"/>
                  </a:lnTo>
                  <a:lnTo>
                    <a:pt x="389" y="24"/>
                  </a:lnTo>
                  <a:lnTo>
                    <a:pt x="467" y="6"/>
                  </a:lnTo>
                  <a:lnTo>
                    <a:pt x="546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8"/>
            <p:cNvSpPr>
              <a:spLocks/>
            </p:cNvSpPr>
            <p:nvPr/>
          </p:nvSpPr>
          <p:spPr bwMode="auto">
            <a:xfrm>
              <a:off x="2788" y="3141"/>
              <a:ext cx="547" cy="110"/>
            </a:xfrm>
            <a:custGeom>
              <a:avLst/>
              <a:gdLst>
                <a:gd name="T0" fmla="*/ 110 w 1093"/>
                <a:gd name="T1" fmla="*/ 0 h 220"/>
                <a:gd name="T2" fmla="*/ 985 w 1093"/>
                <a:gd name="T3" fmla="*/ 0 h 220"/>
                <a:gd name="T4" fmla="*/ 1019 w 1093"/>
                <a:gd name="T5" fmla="*/ 6 h 220"/>
                <a:gd name="T6" fmla="*/ 1049 w 1093"/>
                <a:gd name="T7" fmla="*/ 22 h 220"/>
                <a:gd name="T8" fmla="*/ 1073 w 1093"/>
                <a:gd name="T9" fmla="*/ 46 h 220"/>
                <a:gd name="T10" fmla="*/ 1089 w 1093"/>
                <a:gd name="T11" fmla="*/ 76 h 220"/>
                <a:gd name="T12" fmla="*/ 1093 w 1093"/>
                <a:gd name="T13" fmla="*/ 110 h 220"/>
                <a:gd name="T14" fmla="*/ 1089 w 1093"/>
                <a:gd name="T15" fmla="*/ 144 h 220"/>
                <a:gd name="T16" fmla="*/ 1073 w 1093"/>
                <a:gd name="T17" fmla="*/ 174 h 220"/>
                <a:gd name="T18" fmla="*/ 1049 w 1093"/>
                <a:gd name="T19" fmla="*/ 198 h 220"/>
                <a:gd name="T20" fmla="*/ 1019 w 1093"/>
                <a:gd name="T21" fmla="*/ 214 h 220"/>
                <a:gd name="T22" fmla="*/ 985 w 1093"/>
                <a:gd name="T23" fmla="*/ 220 h 220"/>
                <a:gd name="T24" fmla="*/ 110 w 1093"/>
                <a:gd name="T25" fmla="*/ 220 h 220"/>
                <a:gd name="T26" fmla="*/ 76 w 1093"/>
                <a:gd name="T27" fmla="*/ 214 h 220"/>
                <a:gd name="T28" fmla="*/ 46 w 1093"/>
                <a:gd name="T29" fmla="*/ 198 h 220"/>
                <a:gd name="T30" fmla="*/ 22 w 1093"/>
                <a:gd name="T31" fmla="*/ 174 h 220"/>
                <a:gd name="T32" fmla="*/ 6 w 1093"/>
                <a:gd name="T33" fmla="*/ 144 h 220"/>
                <a:gd name="T34" fmla="*/ 0 w 1093"/>
                <a:gd name="T35" fmla="*/ 110 h 220"/>
                <a:gd name="T36" fmla="*/ 6 w 1093"/>
                <a:gd name="T37" fmla="*/ 76 h 220"/>
                <a:gd name="T38" fmla="*/ 22 w 1093"/>
                <a:gd name="T39" fmla="*/ 46 h 220"/>
                <a:gd name="T40" fmla="*/ 46 w 1093"/>
                <a:gd name="T41" fmla="*/ 22 h 220"/>
                <a:gd name="T42" fmla="*/ 76 w 1093"/>
                <a:gd name="T43" fmla="*/ 6 h 220"/>
                <a:gd name="T44" fmla="*/ 110 w 1093"/>
                <a:gd name="T45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20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6"/>
                  </a:lnTo>
                  <a:lnTo>
                    <a:pt x="1089" y="76"/>
                  </a:lnTo>
                  <a:lnTo>
                    <a:pt x="1093" y="110"/>
                  </a:lnTo>
                  <a:lnTo>
                    <a:pt x="1089" y="144"/>
                  </a:lnTo>
                  <a:lnTo>
                    <a:pt x="1073" y="174"/>
                  </a:lnTo>
                  <a:lnTo>
                    <a:pt x="1049" y="198"/>
                  </a:lnTo>
                  <a:lnTo>
                    <a:pt x="1019" y="214"/>
                  </a:lnTo>
                  <a:lnTo>
                    <a:pt x="985" y="220"/>
                  </a:lnTo>
                  <a:lnTo>
                    <a:pt x="110" y="220"/>
                  </a:lnTo>
                  <a:lnTo>
                    <a:pt x="76" y="214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9"/>
            <p:cNvSpPr>
              <a:spLocks noEditPoints="1"/>
            </p:cNvSpPr>
            <p:nvPr/>
          </p:nvSpPr>
          <p:spPr bwMode="auto">
            <a:xfrm>
              <a:off x="2133" y="1503"/>
              <a:ext cx="437" cy="436"/>
            </a:xfrm>
            <a:custGeom>
              <a:avLst/>
              <a:gdLst>
                <a:gd name="T0" fmla="*/ 217 w 873"/>
                <a:gd name="T1" fmla="*/ 218 h 873"/>
                <a:gd name="T2" fmla="*/ 217 w 873"/>
                <a:gd name="T3" fmla="*/ 656 h 873"/>
                <a:gd name="T4" fmla="*/ 654 w 873"/>
                <a:gd name="T5" fmla="*/ 656 h 873"/>
                <a:gd name="T6" fmla="*/ 654 w 873"/>
                <a:gd name="T7" fmla="*/ 218 h 873"/>
                <a:gd name="T8" fmla="*/ 217 w 873"/>
                <a:gd name="T9" fmla="*/ 218 h 873"/>
                <a:gd name="T10" fmla="*/ 107 w 873"/>
                <a:gd name="T11" fmla="*/ 0 h 873"/>
                <a:gd name="T12" fmla="*/ 764 w 873"/>
                <a:gd name="T13" fmla="*/ 0 h 873"/>
                <a:gd name="T14" fmla="*/ 799 w 873"/>
                <a:gd name="T15" fmla="*/ 6 h 873"/>
                <a:gd name="T16" fmla="*/ 829 w 873"/>
                <a:gd name="T17" fmla="*/ 20 h 873"/>
                <a:gd name="T18" fmla="*/ 851 w 873"/>
                <a:gd name="T19" fmla="*/ 44 h 873"/>
                <a:gd name="T20" fmla="*/ 867 w 873"/>
                <a:gd name="T21" fmla="*/ 74 h 873"/>
                <a:gd name="T22" fmla="*/ 873 w 873"/>
                <a:gd name="T23" fmla="*/ 110 h 873"/>
                <a:gd name="T24" fmla="*/ 873 w 873"/>
                <a:gd name="T25" fmla="*/ 766 h 873"/>
                <a:gd name="T26" fmla="*/ 867 w 873"/>
                <a:gd name="T27" fmla="*/ 800 h 873"/>
                <a:gd name="T28" fmla="*/ 851 w 873"/>
                <a:gd name="T29" fmla="*/ 830 h 873"/>
                <a:gd name="T30" fmla="*/ 829 w 873"/>
                <a:gd name="T31" fmla="*/ 854 h 873"/>
                <a:gd name="T32" fmla="*/ 799 w 873"/>
                <a:gd name="T33" fmla="*/ 869 h 873"/>
                <a:gd name="T34" fmla="*/ 764 w 873"/>
                <a:gd name="T35" fmla="*/ 873 h 873"/>
                <a:gd name="T36" fmla="*/ 107 w 873"/>
                <a:gd name="T37" fmla="*/ 873 h 873"/>
                <a:gd name="T38" fmla="*/ 74 w 873"/>
                <a:gd name="T39" fmla="*/ 869 h 873"/>
                <a:gd name="T40" fmla="*/ 44 w 873"/>
                <a:gd name="T41" fmla="*/ 854 h 873"/>
                <a:gd name="T42" fmla="*/ 20 w 873"/>
                <a:gd name="T43" fmla="*/ 830 h 873"/>
                <a:gd name="T44" fmla="*/ 4 w 873"/>
                <a:gd name="T45" fmla="*/ 800 h 873"/>
                <a:gd name="T46" fmla="*/ 0 w 873"/>
                <a:gd name="T47" fmla="*/ 766 h 873"/>
                <a:gd name="T48" fmla="*/ 0 w 873"/>
                <a:gd name="T49" fmla="*/ 110 h 873"/>
                <a:gd name="T50" fmla="*/ 4 w 873"/>
                <a:gd name="T51" fmla="*/ 74 h 873"/>
                <a:gd name="T52" fmla="*/ 20 w 873"/>
                <a:gd name="T53" fmla="*/ 44 h 873"/>
                <a:gd name="T54" fmla="*/ 44 w 873"/>
                <a:gd name="T55" fmla="*/ 20 h 873"/>
                <a:gd name="T56" fmla="*/ 74 w 873"/>
                <a:gd name="T57" fmla="*/ 6 h 873"/>
                <a:gd name="T58" fmla="*/ 107 w 873"/>
                <a:gd name="T59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3" h="873">
                  <a:moveTo>
                    <a:pt x="217" y="218"/>
                  </a:moveTo>
                  <a:lnTo>
                    <a:pt x="217" y="656"/>
                  </a:lnTo>
                  <a:lnTo>
                    <a:pt x="654" y="656"/>
                  </a:lnTo>
                  <a:lnTo>
                    <a:pt x="654" y="218"/>
                  </a:lnTo>
                  <a:lnTo>
                    <a:pt x="217" y="218"/>
                  </a:lnTo>
                  <a:close/>
                  <a:moveTo>
                    <a:pt x="107" y="0"/>
                  </a:moveTo>
                  <a:lnTo>
                    <a:pt x="764" y="0"/>
                  </a:lnTo>
                  <a:lnTo>
                    <a:pt x="799" y="6"/>
                  </a:lnTo>
                  <a:lnTo>
                    <a:pt x="829" y="20"/>
                  </a:lnTo>
                  <a:lnTo>
                    <a:pt x="851" y="44"/>
                  </a:lnTo>
                  <a:lnTo>
                    <a:pt x="867" y="74"/>
                  </a:lnTo>
                  <a:lnTo>
                    <a:pt x="873" y="110"/>
                  </a:lnTo>
                  <a:lnTo>
                    <a:pt x="873" y="766"/>
                  </a:lnTo>
                  <a:lnTo>
                    <a:pt x="867" y="800"/>
                  </a:lnTo>
                  <a:lnTo>
                    <a:pt x="851" y="830"/>
                  </a:lnTo>
                  <a:lnTo>
                    <a:pt x="829" y="854"/>
                  </a:lnTo>
                  <a:lnTo>
                    <a:pt x="799" y="869"/>
                  </a:lnTo>
                  <a:lnTo>
                    <a:pt x="764" y="873"/>
                  </a:lnTo>
                  <a:lnTo>
                    <a:pt x="107" y="873"/>
                  </a:lnTo>
                  <a:lnTo>
                    <a:pt x="74" y="869"/>
                  </a:lnTo>
                  <a:lnTo>
                    <a:pt x="44" y="854"/>
                  </a:lnTo>
                  <a:lnTo>
                    <a:pt x="20" y="830"/>
                  </a:lnTo>
                  <a:lnTo>
                    <a:pt x="4" y="800"/>
                  </a:lnTo>
                  <a:lnTo>
                    <a:pt x="0" y="766"/>
                  </a:lnTo>
                  <a:lnTo>
                    <a:pt x="0" y="110"/>
                  </a:lnTo>
                  <a:lnTo>
                    <a:pt x="4" y="74"/>
                  </a:lnTo>
                  <a:lnTo>
                    <a:pt x="20" y="44"/>
                  </a:lnTo>
                  <a:lnTo>
                    <a:pt x="44" y="20"/>
                  </a:lnTo>
                  <a:lnTo>
                    <a:pt x="74" y="6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0"/>
            <p:cNvSpPr>
              <a:spLocks noEditPoints="1"/>
            </p:cNvSpPr>
            <p:nvPr/>
          </p:nvSpPr>
          <p:spPr bwMode="auto">
            <a:xfrm>
              <a:off x="2133" y="2813"/>
              <a:ext cx="437" cy="438"/>
            </a:xfrm>
            <a:custGeom>
              <a:avLst/>
              <a:gdLst>
                <a:gd name="T0" fmla="*/ 217 w 873"/>
                <a:gd name="T1" fmla="*/ 219 h 875"/>
                <a:gd name="T2" fmla="*/ 217 w 873"/>
                <a:gd name="T3" fmla="*/ 655 h 875"/>
                <a:gd name="T4" fmla="*/ 654 w 873"/>
                <a:gd name="T5" fmla="*/ 655 h 875"/>
                <a:gd name="T6" fmla="*/ 654 w 873"/>
                <a:gd name="T7" fmla="*/ 219 h 875"/>
                <a:gd name="T8" fmla="*/ 217 w 873"/>
                <a:gd name="T9" fmla="*/ 219 h 875"/>
                <a:gd name="T10" fmla="*/ 107 w 873"/>
                <a:gd name="T11" fmla="*/ 0 h 875"/>
                <a:gd name="T12" fmla="*/ 764 w 873"/>
                <a:gd name="T13" fmla="*/ 0 h 875"/>
                <a:gd name="T14" fmla="*/ 799 w 873"/>
                <a:gd name="T15" fmla="*/ 6 h 875"/>
                <a:gd name="T16" fmla="*/ 829 w 873"/>
                <a:gd name="T17" fmla="*/ 22 h 875"/>
                <a:gd name="T18" fmla="*/ 851 w 873"/>
                <a:gd name="T19" fmla="*/ 45 h 875"/>
                <a:gd name="T20" fmla="*/ 867 w 873"/>
                <a:gd name="T21" fmla="*/ 75 h 875"/>
                <a:gd name="T22" fmla="*/ 873 w 873"/>
                <a:gd name="T23" fmla="*/ 109 h 875"/>
                <a:gd name="T24" fmla="*/ 873 w 873"/>
                <a:gd name="T25" fmla="*/ 765 h 875"/>
                <a:gd name="T26" fmla="*/ 867 w 873"/>
                <a:gd name="T27" fmla="*/ 799 h 875"/>
                <a:gd name="T28" fmla="*/ 851 w 873"/>
                <a:gd name="T29" fmla="*/ 829 h 875"/>
                <a:gd name="T30" fmla="*/ 829 w 873"/>
                <a:gd name="T31" fmla="*/ 853 h 875"/>
                <a:gd name="T32" fmla="*/ 799 w 873"/>
                <a:gd name="T33" fmla="*/ 869 h 875"/>
                <a:gd name="T34" fmla="*/ 764 w 873"/>
                <a:gd name="T35" fmla="*/ 875 h 875"/>
                <a:gd name="T36" fmla="*/ 107 w 873"/>
                <a:gd name="T37" fmla="*/ 875 h 875"/>
                <a:gd name="T38" fmla="*/ 74 w 873"/>
                <a:gd name="T39" fmla="*/ 869 h 875"/>
                <a:gd name="T40" fmla="*/ 44 w 873"/>
                <a:gd name="T41" fmla="*/ 853 h 875"/>
                <a:gd name="T42" fmla="*/ 20 w 873"/>
                <a:gd name="T43" fmla="*/ 829 h 875"/>
                <a:gd name="T44" fmla="*/ 4 w 873"/>
                <a:gd name="T45" fmla="*/ 799 h 875"/>
                <a:gd name="T46" fmla="*/ 0 w 873"/>
                <a:gd name="T47" fmla="*/ 765 h 875"/>
                <a:gd name="T48" fmla="*/ 0 w 873"/>
                <a:gd name="T49" fmla="*/ 109 h 875"/>
                <a:gd name="T50" fmla="*/ 4 w 873"/>
                <a:gd name="T51" fmla="*/ 75 h 875"/>
                <a:gd name="T52" fmla="*/ 20 w 873"/>
                <a:gd name="T53" fmla="*/ 45 h 875"/>
                <a:gd name="T54" fmla="*/ 44 w 873"/>
                <a:gd name="T55" fmla="*/ 22 h 875"/>
                <a:gd name="T56" fmla="*/ 74 w 873"/>
                <a:gd name="T57" fmla="*/ 6 h 875"/>
                <a:gd name="T58" fmla="*/ 107 w 873"/>
                <a:gd name="T59" fmla="*/ 0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3" h="875">
                  <a:moveTo>
                    <a:pt x="217" y="219"/>
                  </a:moveTo>
                  <a:lnTo>
                    <a:pt x="217" y="655"/>
                  </a:lnTo>
                  <a:lnTo>
                    <a:pt x="654" y="655"/>
                  </a:lnTo>
                  <a:lnTo>
                    <a:pt x="654" y="219"/>
                  </a:lnTo>
                  <a:lnTo>
                    <a:pt x="217" y="219"/>
                  </a:lnTo>
                  <a:close/>
                  <a:moveTo>
                    <a:pt x="107" y="0"/>
                  </a:moveTo>
                  <a:lnTo>
                    <a:pt x="764" y="0"/>
                  </a:lnTo>
                  <a:lnTo>
                    <a:pt x="799" y="6"/>
                  </a:lnTo>
                  <a:lnTo>
                    <a:pt x="829" y="22"/>
                  </a:lnTo>
                  <a:lnTo>
                    <a:pt x="851" y="45"/>
                  </a:lnTo>
                  <a:lnTo>
                    <a:pt x="867" y="75"/>
                  </a:lnTo>
                  <a:lnTo>
                    <a:pt x="873" y="109"/>
                  </a:lnTo>
                  <a:lnTo>
                    <a:pt x="873" y="765"/>
                  </a:lnTo>
                  <a:lnTo>
                    <a:pt x="867" y="799"/>
                  </a:lnTo>
                  <a:lnTo>
                    <a:pt x="851" y="829"/>
                  </a:lnTo>
                  <a:lnTo>
                    <a:pt x="829" y="853"/>
                  </a:lnTo>
                  <a:lnTo>
                    <a:pt x="799" y="869"/>
                  </a:lnTo>
                  <a:lnTo>
                    <a:pt x="764" y="875"/>
                  </a:lnTo>
                  <a:lnTo>
                    <a:pt x="107" y="875"/>
                  </a:lnTo>
                  <a:lnTo>
                    <a:pt x="74" y="869"/>
                  </a:lnTo>
                  <a:lnTo>
                    <a:pt x="44" y="853"/>
                  </a:lnTo>
                  <a:lnTo>
                    <a:pt x="20" y="829"/>
                  </a:lnTo>
                  <a:lnTo>
                    <a:pt x="4" y="799"/>
                  </a:lnTo>
                  <a:lnTo>
                    <a:pt x="0" y="765"/>
                  </a:lnTo>
                  <a:lnTo>
                    <a:pt x="0" y="109"/>
                  </a:lnTo>
                  <a:lnTo>
                    <a:pt x="4" y="75"/>
                  </a:lnTo>
                  <a:lnTo>
                    <a:pt x="20" y="45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1"/>
            <p:cNvSpPr>
              <a:spLocks/>
            </p:cNvSpPr>
            <p:nvPr/>
          </p:nvSpPr>
          <p:spPr bwMode="auto">
            <a:xfrm>
              <a:off x="2133" y="2159"/>
              <a:ext cx="437" cy="436"/>
            </a:xfrm>
            <a:custGeom>
              <a:avLst/>
              <a:gdLst>
                <a:gd name="T0" fmla="*/ 770 w 873"/>
                <a:gd name="T1" fmla="*/ 0 h 873"/>
                <a:gd name="T2" fmla="*/ 797 w 873"/>
                <a:gd name="T3" fmla="*/ 4 h 873"/>
                <a:gd name="T4" fmla="*/ 825 w 873"/>
                <a:gd name="T5" fmla="*/ 18 h 873"/>
                <a:gd name="T6" fmla="*/ 847 w 873"/>
                <a:gd name="T7" fmla="*/ 36 h 873"/>
                <a:gd name="T8" fmla="*/ 861 w 873"/>
                <a:gd name="T9" fmla="*/ 60 h 873"/>
                <a:gd name="T10" fmla="*/ 871 w 873"/>
                <a:gd name="T11" fmla="*/ 88 h 873"/>
                <a:gd name="T12" fmla="*/ 873 w 873"/>
                <a:gd name="T13" fmla="*/ 116 h 873"/>
                <a:gd name="T14" fmla="*/ 867 w 873"/>
                <a:gd name="T15" fmla="*/ 144 h 873"/>
                <a:gd name="T16" fmla="*/ 855 w 873"/>
                <a:gd name="T17" fmla="*/ 169 h 873"/>
                <a:gd name="T18" fmla="*/ 419 w 873"/>
                <a:gd name="T19" fmla="*/ 825 h 873"/>
                <a:gd name="T20" fmla="*/ 397 w 873"/>
                <a:gd name="T21" fmla="*/ 849 h 873"/>
                <a:gd name="T22" fmla="*/ 369 w 873"/>
                <a:gd name="T23" fmla="*/ 865 h 873"/>
                <a:gd name="T24" fmla="*/ 337 w 873"/>
                <a:gd name="T25" fmla="*/ 873 h 873"/>
                <a:gd name="T26" fmla="*/ 327 w 873"/>
                <a:gd name="T27" fmla="*/ 873 h 873"/>
                <a:gd name="T28" fmla="*/ 299 w 873"/>
                <a:gd name="T29" fmla="*/ 869 h 873"/>
                <a:gd name="T30" fmla="*/ 273 w 873"/>
                <a:gd name="T31" fmla="*/ 859 h 873"/>
                <a:gd name="T32" fmla="*/ 249 w 873"/>
                <a:gd name="T33" fmla="*/ 841 h 873"/>
                <a:gd name="T34" fmla="*/ 32 w 873"/>
                <a:gd name="T35" fmla="*/ 622 h 873"/>
                <a:gd name="T36" fmla="*/ 14 w 873"/>
                <a:gd name="T37" fmla="*/ 600 h 873"/>
                <a:gd name="T38" fmla="*/ 2 w 873"/>
                <a:gd name="T39" fmla="*/ 574 h 873"/>
                <a:gd name="T40" fmla="*/ 0 w 873"/>
                <a:gd name="T41" fmla="*/ 546 h 873"/>
                <a:gd name="T42" fmla="*/ 2 w 873"/>
                <a:gd name="T43" fmla="*/ 518 h 873"/>
                <a:gd name="T44" fmla="*/ 14 w 873"/>
                <a:gd name="T45" fmla="*/ 492 h 873"/>
                <a:gd name="T46" fmla="*/ 32 w 873"/>
                <a:gd name="T47" fmla="*/ 468 h 873"/>
                <a:gd name="T48" fmla="*/ 54 w 873"/>
                <a:gd name="T49" fmla="*/ 451 h 873"/>
                <a:gd name="T50" fmla="*/ 80 w 873"/>
                <a:gd name="T51" fmla="*/ 441 h 873"/>
                <a:gd name="T52" fmla="*/ 107 w 873"/>
                <a:gd name="T53" fmla="*/ 437 h 873"/>
                <a:gd name="T54" fmla="*/ 135 w 873"/>
                <a:gd name="T55" fmla="*/ 441 h 873"/>
                <a:gd name="T56" fmla="*/ 161 w 873"/>
                <a:gd name="T57" fmla="*/ 451 h 873"/>
                <a:gd name="T58" fmla="*/ 185 w 873"/>
                <a:gd name="T59" fmla="*/ 468 h 873"/>
                <a:gd name="T60" fmla="*/ 309 w 873"/>
                <a:gd name="T61" fmla="*/ 592 h 873"/>
                <a:gd name="T62" fmla="*/ 674 w 873"/>
                <a:gd name="T63" fmla="*/ 48 h 873"/>
                <a:gd name="T64" fmla="*/ 692 w 873"/>
                <a:gd name="T65" fmla="*/ 26 h 873"/>
                <a:gd name="T66" fmla="*/ 716 w 873"/>
                <a:gd name="T67" fmla="*/ 10 h 873"/>
                <a:gd name="T68" fmla="*/ 742 w 873"/>
                <a:gd name="T69" fmla="*/ 2 h 873"/>
                <a:gd name="T70" fmla="*/ 770 w 873"/>
                <a:gd name="T71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73" h="873">
                  <a:moveTo>
                    <a:pt x="770" y="0"/>
                  </a:moveTo>
                  <a:lnTo>
                    <a:pt x="797" y="4"/>
                  </a:lnTo>
                  <a:lnTo>
                    <a:pt x="825" y="18"/>
                  </a:lnTo>
                  <a:lnTo>
                    <a:pt x="847" y="36"/>
                  </a:lnTo>
                  <a:lnTo>
                    <a:pt x="861" y="60"/>
                  </a:lnTo>
                  <a:lnTo>
                    <a:pt x="871" y="88"/>
                  </a:lnTo>
                  <a:lnTo>
                    <a:pt x="873" y="116"/>
                  </a:lnTo>
                  <a:lnTo>
                    <a:pt x="867" y="144"/>
                  </a:lnTo>
                  <a:lnTo>
                    <a:pt x="855" y="169"/>
                  </a:lnTo>
                  <a:lnTo>
                    <a:pt x="419" y="825"/>
                  </a:lnTo>
                  <a:lnTo>
                    <a:pt x="397" y="849"/>
                  </a:lnTo>
                  <a:lnTo>
                    <a:pt x="369" y="865"/>
                  </a:lnTo>
                  <a:lnTo>
                    <a:pt x="337" y="873"/>
                  </a:lnTo>
                  <a:lnTo>
                    <a:pt x="327" y="873"/>
                  </a:lnTo>
                  <a:lnTo>
                    <a:pt x="299" y="869"/>
                  </a:lnTo>
                  <a:lnTo>
                    <a:pt x="273" y="859"/>
                  </a:lnTo>
                  <a:lnTo>
                    <a:pt x="249" y="841"/>
                  </a:lnTo>
                  <a:lnTo>
                    <a:pt x="32" y="622"/>
                  </a:lnTo>
                  <a:lnTo>
                    <a:pt x="14" y="600"/>
                  </a:lnTo>
                  <a:lnTo>
                    <a:pt x="2" y="574"/>
                  </a:lnTo>
                  <a:lnTo>
                    <a:pt x="0" y="546"/>
                  </a:lnTo>
                  <a:lnTo>
                    <a:pt x="2" y="518"/>
                  </a:lnTo>
                  <a:lnTo>
                    <a:pt x="14" y="492"/>
                  </a:lnTo>
                  <a:lnTo>
                    <a:pt x="32" y="468"/>
                  </a:lnTo>
                  <a:lnTo>
                    <a:pt x="54" y="451"/>
                  </a:lnTo>
                  <a:lnTo>
                    <a:pt x="80" y="441"/>
                  </a:lnTo>
                  <a:lnTo>
                    <a:pt x="107" y="437"/>
                  </a:lnTo>
                  <a:lnTo>
                    <a:pt x="135" y="441"/>
                  </a:lnTo>
                  <a:lnTo>
                    <a:pt x="161" y="451"/>
                  </a:lnTo>
                  <a:lnTo>
                    <a:pt x="185" y="468"/>
                  </a:lnTo>
                  <a:lnTo>
                    <a:pt x="309" y="592"/>
                  </a:lnTo>
                  <a:lnTo>
                    <a:pt x="674" y="48"/>
                  </a:lnTo>
                  <a:lnTo>
                    <a:pt x="692" y="26"/>
                  </a:lnTo>
                  <a:lnTo>
                    <a:pt x="716" y="10"/>
                  </a:lnTo>
                  <a:lnTo>
                    <a:pt x="742" y="2"/>
                  </a:lnTo>
                  <a:lnTo>
                    <a:pt x="77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67413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velopment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025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rogress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  <a:solidFill>
              <a:schemeClr val="accent6"/>
            </a:solidFill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3376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Last meeting (20.4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92686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at</a:t>
            </a:r>
            <a:r>
              <a:rPr lang="cs-CZ" dirty="0" smtClean="0"/>
              <a:t> </a:t>
            </a:r>
            <a:r>
              <a:rPr lang="cs-CZ" dirty="0" err="1" smtClean="0"/>
              <a:t>is</a:t>
            </a:r>
            <a:r>
              <a:rPr lang="cs-CZ" dirty="0" smtClean="0"/>
              <a:t> CASA?</a:t>
            </a:r>
            <a:endParaRPr lang="cs-CZ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9999" y="3113833"/>
            <a:ext cx="7490431" cy="207673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8465" y="608608"/>
            <a:ext cx="3358274" cy="335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</a:t>
            </a:r>
            <a:r>
              <a:rPr lang="cs-CZ" dirty="0" err="1" smtClean="0"/>
              <a:t>Current</a:t>
            </a:r>
            <a:r>
              <a:rPr lang="cs-CZ" dirty="0" smtClean="0"/>
              <a:t> status (4.5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6899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25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0290"/>
            <a:ext cx="1310320" cy="109769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7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84460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Testing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79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View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513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nit </a:t>
            </a:r>
            <a:r>
              <a:rPr lang="cs-CZ" dirty="0" err="1" smtClean="0"/>
              <a:t>testing</a:t>
            </a:r>
            <a:r>
              <a:rPr lang="cs-CZ" dirty="0" smtClean="0"/>
              <a:t> </a:t>
            </a:r>
            <a:r>
              <a:rPr lang="cs-CZ" dirty="0" err="1" smtClean="0"/>
              <a:t>overview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59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6" name="Rectangle 65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247702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So… </a:t>
            </a:r>
            <a:r>
              <a:rPr lang="cs-CZ" dirty="0" err="1" smtClean="0"/>
              <a:t>Is</a:t>
            </a:r>
            <a:r>
              <a:rPr lang="cs-CZ" dirty="0" smtClean="0"/>
              <a:t> CASA a </a:t>
            </a:r>
            <a:r>
              <a:rPr lang="cs-CZ" dirty="0" err="1" smtClean="0"/>
              <a:t>success</a:t>
            </a:r>
            <a:r>
              <a:rPr lang="cs-CZ" dirty="0" smtClean="0"/>
              <a:t>?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3954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Why</a:t>
            </a:r>
            <a:r>
              <a:rPr lang="cs-CZ" dirty="0" smtClean="0"/>
              <a:t>?</a:t>
            </a:r>
            <a:endParaRPr lang="cs-CZ" dirty="0"/>
          </a:p>
        </p:txBody>
      </p:sp>
      <p:sp>
        <p:nvSpPr>
          <p:cNvPr id="14" name="Rectangle 13"/>
          <p:cNvSpPr/>
          <p:nvPr/>
        </p:nvSpPr>
        <p:spPr>
          <a:xfrm>
            <a:off x="2622176" y="3523129"/>
            <a:ext cx="4087906" cy="20036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3200" dirty="0" err="1" smtClean="0"/>
              <a:t>Docs</a:t>
            </a:r>
            <a:r>
              <a:rPr lang="cs-CZ" sz="3200" dirty="0" smtClean="0"/>
              <a:t> </a:t>
            </a:r>
            <a:r>
              <a:rPr lang="cs-CZ" sz="3200" dirty="0" err="1" smtClean="0"/>
              <a:t>stats</a:t>
            </a:r>
            <a:r>
              <a:rPr lang="cs-CZ" sz="3200" dirty="0" smtClean="0"/>
              <a:t> </a:t>
            </a:r>
            <a:r>
              <a:rPr lang="cs-CZ" sz="3200" dirty="0" err="1" smtClean="0"/>
              <a:t>here</a:t>
            </a:r>
            <a:endParaRPr lang="cs-CZ" sz="3200" dirty="0"/>
          </a:p>
        </p:txBody>
      </p:sp>
    </p:spTree>
    <p:extLst>
      <p:ext uri="{BB962C8B-B14F-4D97-AF65-F5344CB8AC3E}">
        <p14:creationId xmlns:p14="http://schemas.microsoft.com/office/powerpoint/2010/main" val="1582359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Also</a:t>
            </a:r>
            <a:r>
              <a:rPr lang="cs-CZ" dirty="0" smtClean="0"/>
              <a:t> </a:t>
            </a:r>
            <a:r>
              <a:rPr lang="cs-CZ" dirty="0" err="1" smtClean="0"/>
              <a:t>why</a:t>
            </a:r>
            <a:r>
              <a:rPr lang="cs-CZ" dirty="0" smtClean="0"/>
              <a:t>?</a:t>
            </a:r>
            <a:endParaRPr lang="cs-CZ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2047" y="2427805"/>
            <a:ext cx="4428211" cy="195531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2048" y="4124609"/>
            <a:ext cx="8410224" cy="218430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86200" y="2673304"/>
            <a:ext cx="4652684" cy="190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653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Let‘s</a:t>
            </a:r>
            <a:r>
              <a:rPr lang="cs-CZ" dirty="0" smtClean="0"/>
              <a:t> </a:t>
            </a:r>
            <a:r>
              <a:rPr lang="cs-CZ" dirty="0" err="1" smtClean="0"/>
              <a:t>take</a:t>
            </a:r>
            <a:r>
              <a:rPr lang="cs-CZ" dirty="0" smtClean="0"/>
              <a:t> a </a:t>
            </a:r>
            <a:r>
              <a:rPr lang="cs-CZ" dirty="0" err="1" smtClean="0"/>
              <a:t>look</a:t>
            </a:r>
            <a:r>
              <a:rPr lang="cs-CZ" dirty="0" smtClean="0"/>
              <a:t> </a:t>
            </a:r>
            <a:r>
              <a:rPr lang="cs-CZ" dirty="0" err="1" smtClean="0"/>
              <a:t>at</a:t>
            </a:r>
            <a:r>
              <a:rPr lang="cs-CZ" dirty="0" smtClean="0"/>
              <a:t> </a:t>
            </a:r>
            <a:r>
              <a:rPr lang="cs-CZ" dirty="0" err="1" smtClean="0"/>
              <a:t>the</a:t>
            </a:r>
            <a:r>
              <a:rPr lang="cs-CZ" dirty="0" smtClean="0"/>
              <a:t> </a:t>
            </a:r>
            <a:r>
              <a:rPr lang="cs-CZ" dirty="0" err="1" smtClean="0"/>
              <a:t>official</a:t>
            </a:r>
            <a:r>
              <a:rPr lang="cs-CZ" dirty="0" smtClean="0"/>
              <a:t> </a:t>
            </a:r>
            <a:r>
              <a:rPr lang="cs-CZ" dirty="0" err="1" smtClean="0"/>
              <a:t>rules</a:t>
            </a:r>
            <a:r>
              <a:rPr lang="cs-CZ" dirty="0" smtClean="0"/>
              <a:t> </a:t>
            </a:r>
            <a:r>
              <a:rPr lang="cs-CZ" dirty="0" err="1" smtClean="0"/>
              <a:t>though</a:t>
            </a:r>
            <a:r>
              <a:rPr lang="cs-CZ" dirty="0" smtClean="0"/>
              <a:t>: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t="29043"/>
          <a:stretch/>
        </p:blipFill>
        <p:spPr>
          <a:xfrm>
            <a:off x="405433" y="2259105"/>
            <a:ext cx="8468567" cy="4069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735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Let‘s</a:t>
            </a:r>
            <a:r>
              <a:rPr lang="cs-CZ" dirty="0" smtClean="0"/>
              <a:t> </a:t>
            </a:r>
            <a:r>
              <a:rPr lang="cs-CZ" dirty="0" err="1" smtClean="0"/>
              <a:t>take</a:t>
            </a:r>
            <a:r>
              <a:rPr lang="cs-CZ" dirty="0" smtClean="0"/>
              <a:t> a </a:t>
            </a:r>
            <a:r>
              <a:rPr lang="cs-CZ" dirty="0" err="1" smtClean="0"/>
              <a:t>look</a:t>
            </a:r>
            <a:r>
              <a:rPr lang="cs-CZ" dirty="0" smtClean="0"/>
              <a:t> </a:t>
            </a:r>
            <a:r>
              <a:rPr lang="cs-CZ" dirty="0" err="1" smtClean="0"/>
              <a:t>at</a:t>
            </a:r>
            <a:r>
              <a:rPr lang="cs-CZ" dirty="0" smtClean="0"/>
              <a:t> </a:t>
            </a:r>
            <a:r>
              <a:rPr lang="cs-CZ" dirty="0" err="1" smtClean="0"/>
              <a:t>the</a:t>
            </a:r>
            <a:r>
              <a:rPr lang="cs-CZ" dirty="0" smtClean="0"/>
              <a:t> </a:t>
            </a:r>
            <a:r>
              <a:rPr lang="cs-CZ" dirty="0" err="1" smtClean="0"/>
              <a:t>official</a:t>
            </a:r>
            <a:r>
              <a:rPr lang="cs-CZ" dirty="0" smtClean="0"/>
              <a:t> </a:t>
            </a:r>
            <a:r>
              <a:rPr lang="cs-CZ" dirty="0" err="1" smtClean="0"/>
              <a:t>rules</a:t>
            </a:r>
            <a:r>
              <a:rPr lang="cs-CZ" dirty="0" smtClean="0"/>
              <a:t> </a:t>
            </a:r>
            <a:r>
              <a:rPr lang="cs-CZ" dirty="0" err="1" smtClean="0"/>
              <a:t>though</a:t>
            </a:r>
            <a:r>
              <a:rPr lang="cs-CZ" dirty="0" smtClean="0"/>
              <a:t>: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t="29043"/>
          <a:stretch/>
        </p:blipFill>
        <p:spPr>
          <a:xfrm>
            <a:off x="580244" y="2271957"/>
            <a:ext cx="8468567" cy="4069713"/>
          </a:xfrm>
          <a:prstGeom prst="rect">
            <a:avLst/>
          </a:prstGeom>
        </p:spPr>
      </p:pic>
      <p:sp>
        <p:nvSpPr>
          <p:cNvPr id="7" name="clipart_tick"/>
          <p:cNvSpPr>
            <a:spLocks/>
          </p:cNvSpPr>
          <p:nvPr/>
        </p:nvSpPr>
        <p:spPr bwMode="gray">
          <a:xfrm>
            <a:off x="7157555" y="2694274"/>
            <a:ext cx="359351" cy="387320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lipart_tick"/>
          <p:cNvSpPr>
            <a:spLocks/>
          </p:cNvSpPr>
          <p:nvPr/>
        </p:nvSpPr>
        <p:spPr bwMode="gray">
          <a:xfrm>
            <a:off x="7157555" y="2959719"/>
            <a:ext cx="359351" cy="387320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clipart_tick"/>
          <p:cNvSpPr>
            <a:spLocks/>
          </p:cNvSpPr>
          <p:nvPr/>
        </p:nvSpPr>
        <p:spPr bwMode="gray">
          <a:xfrm>
            <a:off x="7157555" y="3225164"/>
            <a:ext cx="359351" cy="387320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lipart_tick"/>
          <p:cNvSpPr>
            <a:spLocks/>
          </p:cNvSpPr>
          <p:nvPr/>
        </p:nvSpPr>
        <p:spPr bwMode="gray">
          <a:xfrm>
            <a:off x="7157555" y="3503911"/>
            <a:ext cx="359351" cy="387320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clipart_tick"/>
          <p:cNvSpPr>
            <a:spLocks/>
          </p:cNvSpPr>
          <p:nvPr/>
        </p:nvSpPr>
        <p:spPr bwMode="gray">
          <a:xfrm>
            <a:off x="7157555" y="4169528"/>
            <a:ext cx="359351" cy="387320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6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clipart_tick"/>
          <p:cNvSpPr>
            <a:spLocks/>
          </p:cNvSpPr>
          <p:nvPr/>
        </p:nvSpPr>
        <p:spPr bwMode="gray">
          <a:xfrm>
            <a:off x="7157555" y="5109487"/>
            <a:ext cx="359351" cy="387320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4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6" name="Group 6"/>
          <p:cNvGrpSpPr>
            <a:grpSpLocks noChangeAspect="1"/>
          </p:cNvGrpSpPr>
          <p:nvPr/>
        </p:nvGrpSpPr>
        <p:grpSpPr bwMode="auto">
          <a:xfrm>
            <a:off x="7644684" y="3351802"/>
            <a:ext cx="412750" cy="514350"/>
            <a:chOff x="2748" y="1996"/>
            <a:chExt cx="260" cy="324"/>
          </a:xfrm>
          <a:solidFill>
            <a:schemeClr val="accent1"/>
          </a:solidFill>
        </p:grpSpPr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54 w 2167"/>
                <a:gd name="T1" fmla="*/ 2425 h 2692"/>
                <a:gd name="T2" fmla="*/ 849 w 2167"/>
                <a:gd name="T3" fmla="*/ 1390 h 2692"/>
                <a:gd name="T4" fmla="*/ 562 w 2167"/>
                <a:gd name="T5" fmla="*/ 221 h 2692"/>
                <a:gd name="T6" fmla="*/ 856 w 2167"/>
                <a:gd name="T7" fmla="*/ 127 h 2692"/>
                <a:gd name="T8" fmla="*/ 1170 w 2167"/>
                <a:gd name="T9" fmla="*/ 969 h 2692"/>
                <a:gd name="T10" fmla="*/ 1939 w 2167"/>
                <a:gd name="T11" fmla="*/ 181 h 2692"/>
                <a:gd name="T12" fmla="*/ 2167 w 2167"/>
                <a:gd name="T13" fmla="*/ 421 h 2692"/>
                <a:gd name="T14" fmla="*/ 1418 w 2167"/>
                <a:gd name="T15" fmla="*/ 1443 h 2692"/>
                <a:gd name="T16" fmla="*/ 1792 w 2167"/>
                <a:gd name="T17" fmla="*/ 2412 h 2692"/>
                <a:gd name="T18" fmla="*/ 1605 w 2167"/>
                <a:gd name="T19" fmla="*/ 2599 h 2692"/>
                <a:gd name="T20" fmla="*/ 1030 w 2167"/>
                <a:gd name="T21" fmla="*/ 1871 h 2692"/>
                <a:gd name="T22" fmla="*/ 254 w 2167"/>
                <a:gd name="T23" fmla="*/ 2692 h 2692"/>
                <a:gd name="T24" fmla="*/ 54 w 2167"/>
                <a:gd name="T25" fmla="*/ 2425 h 2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67" h="2692">
                  <a:moveTo>
                    <a:pt x="54" y="2425"/>
                  </a:moveTo>
                  <a:cubicBezTo>
                    <a:pt x="54" y="2425"/>
                    <a:pt x="328" y="1857"/>
                    <a:pt x="849" y="1390"/>
                  </a:cubicBezTo>
                  <a:cubicBezTo>
                    <a:pt x="582" y="815"/>
                    <a:pt x="562" y="428"/>
                    <a:pt x="562" y="221"/>
                  </a:cubicBezTo>
                  <a:cubicBezTo>
                    <a:pt x="562" y="14"/>
                    <a:pt x="756" y="0"/>
                    <a:pt x="856" y="127"/>
                  </a:cubicBezTo>
                  <a:cubicBezTo>
                    <a:pt x="856" y="127"/>
                    <a:pt x="943" y="595"/>
                    <a:pt x="1170" y="969"/>
                  </a:cubicBezTo>
                  <a:cubicBezTo>
                    <a:pt x="1672" y="348"/>
                    <a:pt x="1939" y="181"/>
                    <a:pt x="1939" y="181"/>
                  </a:cubicBezTo>
                  <a:cubicBezTo>
                    <a:pt x="2140" y="234"/>
                    <a:pt x="2167" y="421"/>
                    <a:pt x="2167" y="421"/>
                  </a:cubicBezTo>
                  <a:cubicBezTo>
                    <a:pt x="2080" y="635"/>
                    <a:pt x="1732" y="829"/>
                    <a:pt x="1418" y="1443"/>
                  </a:cubicBezTo>
                  <a:cubicBezTo>
                    <a:pt x="1358" y="1777"/>
                    <a:pt x="1759" y="2205"/>
                    <a:pt x="1792" y="2412"/>
                  </a:cubicBezTo>
                  <a:cubicBezTo>
                    <a:pt x="1712" y="2518"/>
                    <a:pt x="1739" y="2518"/>
                    <a:pt x="1605" y="2599"/>
                  </a:cubicBezTo>
                  <a:cubicBezTo>
                    <a:pt x="1605" y="2599"/>
                    <a:pt x="1257" y="2271"/>
                    <a:pt x="1030" y="1871"/>
                  </a:cubicBezTo>
                  <a:cubicBezTo>
                    <a:pt x="756" y="2104"/>
                    <a:pt x="682" y="2265"/>
                    <a:pt x="254" y="2692"/>
                  </a:cubicBezTo>
                  <a:cubicBezTo>
                    <a:pt x="254" y="2692"/>
                    <a:pt x="0" y="2679"/>
                    <a:pt x="54" y="2425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>
              <a:off x="2748" y="1996"/>
              <a:ext cx="260" cy="324"/>
            </a:xfrm>
            <a:custGeom>
              <a:avLst/>
              <a:gdLst>
                <a:gd name="T0" fmla="*/ 6 w 260"/>
                <a:gd name="T1" fmla="*/ 292 h 324"/>
                <a:gd name="T2" fmla="*/ 101 w 260"/>
                <a:gd name="T3" fmla="*/ 167 h 324"/>
                <a:gd name="T4" fmla="*/ 67 w 260"/>
                <a:gd name="T5" fmla="*/ 27 h 324"/>
                <a:gd name="T6" fmla="*/ 102 w 260"/>
                <a:gd name="T7" fmla="*/ 15 h 324"/>
                <a:gd name="T8" fmla="*/ 140 w 260"/>
                <a:gd name="T9" fmla="*/ 116 h 324"/>
                <a:gd name="T10" fmla="*/ 232 w 260"/>
                <a:gd name="T11" fmla="*/ 22 h 324"/>
                <a:gd name="T12" fmla="*/ 260 w 260"/>
                <a:gd name="T13" fmla="*/ 51 h 324"/>
                <a:gd name="T14" fmla="*/ 170 w 260"/>
                <a:gd name="T15" fmla="*/ 173 h 324"/>
                <a:gd name="T16" fmla="*/ 215 w 260"/>
                <a:gd name="T17" fmla="*/ 290 h 324"/>
                <a:gd name="T18" fmla="*/ 192 w 260"/>
                <a:gd name="T19" fmla="*/ 313 h 324"/>
                <a:gd name="T20" fmla="*/ 123 w 260"/>
                <a:gd name="T21" fmla="*/ 225 h 324"/>
                <a:gd name="T22" fmla="*/ 30 w 260"/>
                <a:gd name="T23" fmla="*/ 324 h 324"/>
                <a:gd name="T24" fmla="*/ 6 w 260"/>
                <a:gd name="T25" fmla="*/ 292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0" h="324">
                  <a:moveTo>
                    <a:pt x="6" y="292"/>
                  </a:moveTo>
                  <a:cubicBezTo>
                    <a:pt x="6" y="292"/>
                    <a:pt x="39" y="223"/>
                    <a:pt x="101" y="167"/>
                  </a:cubicBezTo>
                  <a:cubicBezTo>
                    <a:pt x="69" y="98"/>
                    <a:pt x="67" y="51"/>
                    <a:pt x="67" y="27"/>
                  </a:cubicBezTo>
                  <a:cubicBezTo>
                    <a:pt x="67" y="2"/>
                    <a:pt x="90" y="0"/>
                    <a:pt x="102" y="15"/>
                  </a:cubicBezTo>
                  <a:cubicBezTo>
                    <a:pt x="102" y="15"/>
                    <a:pt x="113" y="71"/>
                    <a:pt x="140" y="116"/>
                  </a:cubicBezTo>
                  <a:cubicBezTo>
                    <a:pt x="200" y="42"/>
                    <a:pt x="232" y="22"/>
                    <a:pt x="232" y="22"/>
                  </a:cubicBezTo>
                  <a:cubicBezTo>
                    <a:pt x="256" y="28"/>
                    <a:pt x="260" y="51"/>
                    <a:pt x="260" y="51"/>
                  </a:cubicBezTo>
                  <a:cubicBezTo>
                    <a:pt x="249" y="76"/>
                    <a:pt x="208" y="100"/>
                    <a:pt x="170" y="173"/>
                  </a:cubicBezTo>
                  <a:cubicBezTo>
                    <a:pt x="163" y="214"/>
                    <a:pt x="211" y="265"/>
                    <a:pt x="215" y="290"/>
                  </a:cubicBezTo>
                  <a:cubicBezTo>
                    <a:pt x="205" y="303"/>
                    <a:pt x="208" y="303"/>
                    <a:pt x="192" y="313"/>
                  </a:cubicBezTo>
                  <a:cubicBezTo>
                    <a:pt x="192" y="313"/>
                    <a:pt x="150" y="273"/>
                    <a:pt x="123" y="225"/>
                  </a:cubicBezTo>
                  <a:cubicBezTo>
                    <a:pt x="90" y="253"/>
                    <a:pt x="81" y="272"/>
                    <a:pt x="30" y="324"/>
                  </a:cubicBezTo>
                  <a:cubicBezTo>
                    <a:pt x="30" y="324"/>
                    <a:pt x="0" y="322"/>
                    <a:pt x="6" y="292"/>
                  </a:cubicBezTo>
                </a:path>
              </a:pathLst>
            </a:custGeom>
            <a:grpFill/>
            <a:ln w="12700" cap="flat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3924477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se case</a:t>
            </a:r>
            <a:endParaRPr lang="cs-CZ" dirty="0"/>
          </a:p>
        </p:txBody>
      </p:sp>
      <p:pic>
        <p:nvPicPr>
          <p:cNvPr id="50178" name="Picture 2" descr="https://scontent.fprg1-1.fna.fbcdn.net/v/t34.0-12/18643502_1540559229310535_510321751_n.png?oh=af74d28daf667db2b5336365ef7a3d6b&amp;oe=59258268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63" t="18633" r="10679" b="23056"/>
          <a:stretch/>
        </p:blipFill>
        <p:spPr bwMode="auto">
          <a:xfrm>
            <a:off x="1181508" y="2538880"/>
            <a:ext cx="6821326" cy="3633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8464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Old</a:t>
            </a:r>
            <a:r>
              <a:rPr lang="cs-CZ" dirty="0" smtClean="0">
                <a:solidFill>
                  <a:schemeClr val="bg1"/>
                </a:solidFill>
              </a:rPr>
              <a:t> </a:t>
            </a:r>
            <a:r>
              <a:rPr lang="cs-CZ" dirty="0" err="1" smtClean="0">
                <a:solidFill>
                  <a:schemeClr val="bg1"/>
                </a:solidFill>
              </a:rPr>
              <a:t>slides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14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8322</TotalTime>
  <Words>411</Words>
  <Application>Microsoft Office PowerPoint</Application>
  <PresentationFormat>On-screen Show (4:3)</PresentationFormat>
  <Paragraphs>226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9" baseType="lpstr">
      <vt:lpstr>Calibri</vt:lpstr>
      <vt:lpstr>Technika</vt:lpstr>
      <vt:lpstr>Technika-Bold</vt:lpstr>
      <vt:lpstr>Arial</vt:lpstr>
      <vt:lpstr>PowerPoint_CS</vt:lpstr>
      <vt:lpstr>think-cell Slide</vt:lpstr>
      <vt:lpstr>Project CASA: Final Project Presentation</vt:lpstr>
      <vt:lpstr>What is CASA?</vt:lpstr>
      <vt:lpstr>So… Is CASA a success?</vt:lpstr>
      <vt:lpstr>Why?</vt:lpstr>
      <vt:lpstr>Also why?</vt:lpstr>
      <vt:lpstr>Let‘s take a look at the official rules though:</vt:lpstr>
      <vt:lpstr>Let‘s take a look at the official rules though:</vt:lpstr>
      <vt:lpstr>Use case</vt:lpstr>
      <vt:lpstr>Old slides</vt:lpstr>
      <vt:lpstr>CASA is a success!</vt:lpstr>
      <vt:lpstr>Project team assesment</vt:lpstr>
      <vt:lpstr>Project Team Update</vt:lpstr>
      <vt:lpstr>Project status overview</vt:lpstr>
      <vt:lpstr>Project is being steadily updated…</vt:lpstr>
      <vt:lpstr>…and we are still within planned schedule</vt:lpstr>
      <vt:lpstr>Today we need to:</vt:lpstr>
      <vt:lpstr>Development update</vt:lpstr>
      <vt:lpstr>Development progress</vt:lpstr>
      <vt:lpstr>Full Project View: Last meeting (20.4.2017)</vt:lpstr>
      <vt:lpstr>Full Project View: Current status (4.5.2017)</vt:lpstr>
      <vt:lpstr>Testing update</vt:lpstr>
      <vt:lpstr>High-level View</vt:lpstr>
      <vt:lpstr>Unit testing overview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CPS Bot</cp:lastModifiedBy>
  <cp:revision>124</cp:revision>
  <cp:lastPrinted>2017-03-01T18:10:55Z</cp:lastPrinted>
  <dcterms:created xsi:type="dcterms:W3CDTF">2016-12-15T15:45:09Z</dcterms:created>
  <dcterms:modified xsi:type="dcterms:W3CDTF">2017-05-23T12:14:25Z</dcterms:modified>
</cp:coreProperties>
</file>